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0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1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2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3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4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5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6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7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heme/theme18.xml" ContentType="application/vnd.openxmlformats-officedocument.theme+xml"/>
  <Override PartName="/ppt/theme/theme19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0" r:id="rId1"/>
    <p:sldMasterId id="2147483669" r:id="rId2"/>
    <p:sldMasterId id="2147483678" r:id="rId3"/>
    <p:sldMasterId id="2147483687" r:id="rId4"/>
    <p:sldMasterId id="2147483696" r:id="rId5"/>
    <p:sldMasterId id="2147483717" r:id="rId6"/>
    <p:sldMasterId id="2147483726" r:id="rId7"/>
    <p:sldMasterId id="2147483735" r:id="rId8"/>
    <p:sldMasterId id="2147483744" r:id="rId9"/>
    <p:sldMasterId id="2147483753" r:id="rId10"/>
    <p:sldMasterId id="2147483762" r:id="rId11"/>
    <p:sldMasterId id="2147483765" r:id="rId12"/>
    <p:sldMasterId id="2147483774" r:id="rId13"/>
    <p:sldMasterId id="2147483784" r:id="rId14"/>
    <p:sldMasterId id="2147483793" r:id="rId15"/>
    <p:sldMasterId id="2147483802" r:id="rId16"/>
    <p:sldMasterId id="2147483811" r:id="rId17"/>
  </p:sldMasterIdLst>
  <p:notesMasterIdLst>
    <p:notesMasterId r:id="rId26"/>
  </p:notesMasterIdLst>
  <p:handoutMasterIdLst>
    <p:handoutMasterId r:id="rId27"/>
  </p:handoutMasterIdLst>
  <p:sldIdLst>
    <p:sldId id="427" r:id="rId18"/>
    <p:sldId id="405" r:id="rId19"/>
    <p:sldId id="429" r:id="rId20"/>
    <p:sldId id="430" r:id="rId21"/>
    <p:sldId id="431" r:id="rId22"/>
    <p:sldId id="432" r:id="rId23"/>
    <p:sldId id="433" r:id="rId24"/>
    <p:sldId id="434" r:id="rId25"/>
  </p:sldIdLst>
  <p:sldSz cx="9144000" cy="6858000" type="screen4x3"/>
  <p:notesSz cx="6797675" cy="9928225"/>
  <p:custDataLst>
    <p:tags r:id="rId28"/>
  </p:custDataLst>
  <p:defaultTextStyle>
    <a:defPPr>
      <a:defRPr lang="zh-TW"/>
    </a:defPPr>
    <a:lvl1pPr marL="0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430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860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291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5725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2161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8594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5027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1461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44"/>
    <a:srgbClr val="00823B"/>
    <a:srgbClr val="FCF600"/>
    <a:srgbClr val="009999"/>
    <a:srgbClr val="4D9A81"/>
    <a:srgbClr val="72BFC5"/>
    <a:srgbClr val="3C8C93"/>
    <a:srgbClr val="88966C"/>
    <a:srgbClr val="99CCFF"/>
    <a:srgbClr val="ECC0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中等深淺樣式 3 - 輔色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無樣式、表格格線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淺色樣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淺色樣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中等深淺樣式 2 - 輔色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中等深淺樣式 2 - 輔色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中等深淺樣式 2 - 輔色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25E5076-3810-47DD-B79F-674D7AD40C01}" styleName="深色樣式 1 - 輔色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67" autoAdjust="0"/>
    <p:restoredTop sz="89952" autoAdjust="0"/>
  </p:normalViewPr>
  <p:slideViewPr>
    <p:cSldViewPr>
      <p:cViewPr>
        <p:scale>
          <a:sx n="124" d="100"/>
          <a:sy n="124" d="100"/>
        </p:scale>
        <p:origin x="-1242" y="72"/>
      </p:cViewPr>
      <p:guideLst>
        <p:guide orient="horz" pos="2160"/>
        <p:guide pos="288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2574"/>
    </p:cViewPr>
  </p:sorterViewPr>
  <p:notesViewPr>
    <p:cSldViewPr>
      <p:cViewPr varScale="1">
        <p:scale>
          <a:sx n="54" d="100"/>
          <a:sy n="54" d="100"/>
        </p:scale>
        <p:origin x="2490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06EF17-0AB0-416F-AA6A-3C5C18A16AEB}" type="doc">
      <dgm:prSet loTypeId="urn:microsoft.com/office/officeart/2005/8/layout/hList1" loCatId="list" qsTypeId="urn:microsoft.com/office/officeart/2005/8/quickstyle/simple2" qsCatId="simple" csTypeId="urn:microsoft.com/office/officeart/2005/8/colors/accent0_1" csCatId="mainScheme" phldr="1"/>
      <dgm:spPr/>
      <dgm:t>
        <a:bodyPr/>
        <a:lstStyle/>
        <a:p>
          <a:endParaRPr lang="zh-TW" altLang="en-US"/>
        </a:p>
      </dgm:t>
    </dgm:pt>
    <dgm:pt modelId="{5EA6E817-98D2-4EDE-A51C-8847C2B41A76}">
      <dgm:prSet phldrT="[文字]"/>
      <dgm:spPr/>
      <dgm:t>
        <a:bodyPr/>
        <a:lstStyle/>
        <a:p>
          <a:r>
            <a:rPr lang="zh-TW" altLang="en-US" dirty="0" smtClean="0"/>
            <a:t>優點</a:t>
          </a:r>
          <a:endParaRPr lang="zh-TW" altLang="en-US" dirty="0"/>
        </a:p>
      </dgm:t>
    </dgm:pt>
    <dgm:pt modelId="{3C6F3A8F-77D2-493E-A6E0-54C3E24C102F}" type="parTrans" cxnId="{42356D63-BA96-45C5-9470-9CA5F0720B20}">
      <dgm:prSet/>
      <dgm:spPr/>
      <dgm:t>
        <a:bodyPr/>
        <a:lstStyle/>
        <a:p>
          <a:endParaRPr lang="zh-TW" altLang="en-US"/>
        </a:p>
      </dgm:t>
    </dgm:pt>
    <dgm:pt modelId="{3D3AC991-BC42-4BF6-BC2D-2C2976A281CE}" type="sibTrans" cxnId="{42356D63-BA96-45C5-9470-9CA5F0720B20}">
      <dgm:prSet/>
      <dgm:spPr/>
      <dgm:t>
        <a:bodyPr/>
        <a:lstStyle/>
        <a:p>
          <a:endParaRPr lang="zh-TW" altLang="en-US"/>
        </a:p>
      </dgm:t>
    </dgm:pt>
    <dgm:pt modelId="{26491092-66E4-43FF-8904-952C531D403E}">
      <dgm:prSet phldrT="[文字]"/>
      <dgm:spPr/>
      <dgm:t>
        <a:bodyPr/>
        <a:lstStyle/>
        <a:p>
          <a:r>
            <a:rPr lang="zh-TW" altLang="en-US" dirty="0" smtClean="0"/>
            <a:t>外向活潑</a:t>
          </a:r>
          <a:endParaRPr lang="zh-TW" altLang="en-US" dirty="0"/>
        </a:p>
      </dgm:t>
    </dgm:pt>
    <dgm:pt modelId="{115A5BC7-DF46-4799-A9A2-106218B73034}" type="parTrans" cxnId="{1D308377-9D46-4AA0-AF3E-619133F659B7}">
      <dgm:prSet/>
      <dgm:spPr/>
      <dgm:t>
        <a:bodyPr/>
        <a:lstStyle/>
        <a:p>
          <a:endParaRPr lang="zh-TW" altLang="en-US"/>
        </a:p>
      </dgm:t>
    </dgm:pt>
    <dgm:pt modelId="{DEB504EF-DA26-4362-8780-5E32409CFC5B}" type="sibTrans" cxnId="{1D308377-9D46-4AA0-AF3E-619133F659B7}">
      <dgm:prSet/>
      <dgm:spPr/>
      <dgm:t>
        <a:bodyPr/>
        <a:lstStyle/>
        <a:p>
          <a:endParaRPr lang="zh-TW" altLang="en-US"/>
        </a:p>
      </dgm:t>
    </dgm:pt>
    <dgm:pt modelId="{1E38D21E-1254-493B-B221-0DC368234637}">
      <dgm:prSet phldrT="[文字]"/>
      <dgm:spPr/>
      <dgm:t>
        <a:bodyPr/>
        <a:lstStyle/>
        <a:p>
          <a:r>
            <a:rPr lang="zh-TW" altLang="en-US" dirty="0" smtClean="0"/>
            <a:t>獨立自主</a:t>
          </a:r>
          <a:endParaRPr lang="zh-TW" altLang="en-US" dirty="0"/>
        </a:p>
      </dgm:t>
    </dgm:pt>
    <dgm:pt modelId="{8681A8B1-A123-42E2-ABE6-105B21930896}" type="parTrans" cxnId="{C1DAD946-638F-4BE9-8D9B-4CE358A07A9C}">
      <dgm:prSet/>
      <dgm:spPr/>
      <dgm:t>
        <a:bodyPr/>
        <a:lstStyle/>
        <a:p>
          <a:endParaRPr lang="zh-TW" altLang="en-US"/>
        </a:p>
      </dgm:t>
    </dgm:pt>
    <dgm:pt modelId="{44DCA347-02EC-463C-B755-674736A24028}" type="sibTrans" cxnId="{C1DAD946-638F-4BE9-8D9B-4CE358A07A9C}">
      <dgm:prSet/>
      <dgm:spPr/>
      <dgm:t>
        <a:bodyPr/>
        <a:lstStyle/>
        <a:p>
          <a:endParaRPr lang="zh-TW" altLang="en-US"/>
        </a:p>
      </dgm:t>
    </dgm:pt>
    <dgm:pt modelId="{762AE665-FE3B-4267-AC62-387AB43A2346}">
      <dgm:prSet phldrT="[文字]"/>
      <dgm:spPr/>
      <dgm:t>
        <a:bodyPr/>
        <a:lstStyle/>
        <a:p>
          <a:r>
            <a:rPr lang="zh-TW" altLang="en-US" dirty="0" smtClean="0"/>
            <a:t>缺點</a:t>
          </a:r>
          <a:endParaRPr lang="zh-TW" altLang="en-US" dirty="0"/>
        </a:p>
      </dgm:t>
    </dgm:pt>
    <dgm:pt modelId="{828D7854-60CE-487D-9D33-E34D39E0F817}" type="parTrans" cxnId="{065F8B7A-5EEB-41F8-B078-E9547566D0DE}">
      <dgm:prSet/>
      <dgm:spPr/>
      <dgm:t>
        <a:bodyPr/>
        <a:lstStyle/>
        <a:p>
          <a:endParaRPr lang="zh-TW" altLang="en-US"/>
        </a:p>
      </dgm:t>
    </dgm:pt>
    <dgm:pt modelId="{0FE35305-219C-4535-9F82-884B662AF3B8}" type="sibTrans" cxnId="{065F8B7A-5EEB-41F8-B078-E9547566D0DE}">
      <dgm:prSet/>
      <dgm:spPr/>
      <dgm:t>
        <a:bodyPr/>
        <a:lstStyle/>
        <a:p>
          <a:endParaRPr lang="zh-TW" altLang="en-US"/>
        </a:p>
      </dgm:t>
    </dgm:pt>
    <dgm:pt modelId="{0DB26415-3508-45CF-A853-FC701C3870E6}">
      <dgm:prSet phldrT="[文字]"/>
      <dgm:spPr/>
      <dgm:t>
        <a:bodyPr/>
        <a:lstStyle/>
        <a:p>
          <a:r>
            <a:rPr lang="zh-TW" altLang="en-US" dirty="0" smtClean="0"/>
            <a:t>固執</a:t>
          </a:r>
          <a:endParaRPr lang="zh-TW" altLang="en-US" dirty="0"/>
        </a:p>
      </dgm:t>
    </dgm:pt>
    <dgm:pt modelId="{74F10364-498C-4657-B15B-D222E1CBA97D}" type="parTrans" cxnId="{9643E1DF-07D0-46A5-9022-95F00102BE24}">
      <dgm:prSet/>
      <dgm:spPr/>
      <dgm:t>
        <a:bodyPr/>
        <a:lstStyle/>
        <a:p>
          <a:endParaRPr lang="zh-TW" altLang="en-US"/>
        </a:p>
      </dgm:t>
    </dgm:pt>
    <dgm:pt modelId="{6153CE34-B877-497B-875B-FDD2D9C43CB2}" type="sibTrans" cxnId="{9643E1DF-07D0-46A5-9022-95F00102BE24}">
      <dgm:prSet/>
      <dgm:spPr/>
      <dgm:t>
        <a:bodyPr/>
        <a:lstStyle/>
        <a:p>
          <a:endParaRPr lang="zh-TW" altLang="en-US"/>
        </a:p>
      </dgm:t>
    </dgm:pt>
    <dgm:pt modelId="{7D168BA2-E1DA-407C-B227-A9D2457E4522}">
      <dgm:prSet phldrT="[文字]"/>
      <dgm:spPr/>
      <dgm:t>
        <a:bodyPr/>
        <a:lstStyle/>
        <a:p>
          <a:r>
            <a:rPr lang="zh-TW" altLang="en-US" dirty="0" smtClean="0"/>
            <a:t>不夠謹慎</a:t>
          </a:r>
          <a:endParaRPr lang="zh-TW" altLang="en-US" dirty="0"/>
        </a:p>
      </dgm:t>
    </dgm:pt>
    <dgm:pt modelId="{9A0E18F4-98E7-498B-9350-B17796865760}" type="parTrans" cxnId="{E8BE42A5-2F61-4289-9C5F-CF009C8F8879}">
      <dgm:prSet/>
      <dgm:spPr/>
      <dgm:t>
        <a:bodyPr/>
        <a:lstStyle/>
        <a:p>
          <a:endParaRPr lang="zh-TW" altLang="en-US"/>
        </a:p>
      </dgm:t>
    </dgm:pt>
    <dgm:pt modelId="{6E028311-F159-447C-B41B-AFB4A88F0CED}" type="sibTrans" cxnId="{E8BE42A5-2F61-4289-9C5F-CF009C8F8879}">
      <dgm:prSet/>
      <dgm:spPr/>
      <dgm:t>
        <a:bodyPr/>
        <a:lstStyle/>
        <a:p>
          <a:endParaRPr lang="zh-TW" altLang="en-US"/>
        </a:p>
      </dgm:t>
    </dgm:pt>
    <dgm:pt modelId="{F2699C5D-14D2-482F-BFB6-74E84C446F34}" type="pres">
      <dgm:prSet presAssocID="{0906EF17-0AB0-416F-AA6A-3C5C18A16AE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TW" altLang="en-US"/>
        </a:p>
      </dgm:t>
    </dgm:pt>
    <dgm:pt modelId="{C46FE6E4-8989-4BB0-A9C0-19816706E4E7}" type="pres">
      <dgm:prSet presAssocID="{5EA6E817-98D2-4EDE-A51C-8847C2B41A76}" presName="composite" presStyleCnt="0"/>
      <dgm:spPr/>
    </dgm:pt>
    <dgm:pt modelId="{800403F9-7EAB-471D-8CCB-F37D5D92EBD5}" type="pres">
      <dgm:prSet presAssocID="{5EA6E817-98D2-4EDE-A51C-8847C2B41A76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3CBFF8A9-23B1-478E-AFD7-197F97E5C501}" type="pres">
      <dgm:prSet presAssocID="{5EA6E817-98D2-4EDE-A51C-8847C2B41A76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91B6907F-6D58-48AA-A592-DBC8589FDD18}" type="pres">
      <dgm:prSet presAssocID="{3D3AC991-BC42-4BF6-BC2D-2C2976A281CE}" presName="space" presStyleCnt="0"/>
      <dgm:spPr/>
    </dgm:pt>
    <dgm:pt modelId="{A39156D6-EA55-4E58-A80A-AC51F958031D}" type="pres">
      <dgm:prSet presAssocID="{762AE665-FE3B-4267-AC62-387AB43A2346}" presName="composite" presStyleCnt="0"/>
      <dgm:spPr/>
    </dgm:pt>
    <dgm:pt modelId="{C165B3FD-7E7E-4C53-811E-983218881320}" type="pres">
      <dgm:prSet presAssocID="{762AE665-FE3B-4267-AC62-387AB43A2346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3E599830-E475-44E8-8194-AD0CA31325C0}" type="pres">
      <dgm:prSet presAssocID="{762AE665-FE3B-4267-AC62-387AB43A2346}" presName="desTx" presStyleLbl="alignAccFollowNode1" presStyleIdx="1" presStyleCnt="2" custLinFactNeighborX="-22" custLinFactNeighborY="-2318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</dgm:ptLst>
  <dgm:cxnLst>
    <dgm:cxn modelId="{C1DAD946-638F-4BE9-8D9B-4CE358A07A9C}" srcId="{5EA6E817-98D2-4EDE-A51C-8847C2B41A76}" destId="{1E38D21E-1254-493B-B221-0DC368234637}" srcOrd="1" destOrd="0" parTransId="{8681A8B1-A123-42E2-ABE6-105B21930896}" sibTransId="{44DCA347-02EC-463C-B755-674736A24028}"/>
    <dgm:cxn modelId="{9643E1DF-07D0-46A5-9022-95F00102BE24}" srcId="{762AE665-FE3B-4267-AC62-387AB43A2346}" destId="{0DB26415-3508-45CF-A853-FC701C3870E6}" srcOrd="0" destOrd="0" parTransId="{74F10364-498C-4657-B15B-D222E1CBA97D}" sibTransId="{6153CE34-B877-497B-875B-FDD2D9C43CB2}"/>
    <dgm:cxn modelId="{E8BE42A5-2F61-4289-9C5F-CF009C8F8879}" srcId="{762AE665-FE3B-4267-AC62-387AB43A2346}" destId="{7D168BA2-E1DA-407C-B227-A9D2457E4522}" srcOrd="1" destOrd="0" parTransId="{9A0E18F4-98E7-498B-9350-B17796865760}" sibTransId="{6E028311-F159-447C-B41B-AFB4A88F0CED}"/>
    <dgm:cxn modelId="{97E59527-58A2-49AD-9C88-57DE7138C771}" type="presOf" srcId="{1E38D21E-1254-493B-B221-0DC368234637}" destId="{3CBFF8A9-23B1-478E-AFD7-197F97E5C501}" srcOrd="0" destOrd="1" presId="urn:microsoft.com/office/officeart/2005/8/layout/hList1"/>
    <dgm:cxn modelId="{065F8B7A-5EEB-41F8-B078-E9547566D0DE}" srcId="{0906EF17-0AB0-416F-AA6A-3C5C18A16AEB}" destId="{762AE665-FE3B-4267-AC62-387AB43A2346}" srcOrd="1" destOrd="0" parTransId="{828D7854-60CE-487D-9D33-E34D39E0F817}" sibTransId="{0FE35305-219C-4535-9F82-884B662AF3B8}"/>
    <dgm:cxn modelId="{2293E75E-BF78-4222-8D4E-9EDCD081DF5D}" type="presOf" srcId="{0906EF17-0AB0-416F-AA6A-3C5C18A16AEB}" destId="{F2699C5D-14D2-482F-BFB6-74E84C446F34}" srcOrd="0" destOrd="0" presId="urn:microsoft.com/office/officeart/2005/8/layout/hList1"/>
    <dgm:cxn modelId="{D928028B-741C-452E-ACCF-C1E394C76A91}" type="presOf" srcId="{26491092-66E4-43FF-8904-952C531D403E}" destId="{3CBFF8A9-23B1-478E-AFD7-197F97E5C501}" srcOrd="0" destOrd="0" presId="urn:microsoft.com/office/officeart/2005/8/layout/hList1"/>
    <dgm:cxn modelId="{7A25605D-2DB2-43F2-8AE1-4C4F491058E5}" type="presOf" srcId="{762AE665-FE3B-4267-AC62-387AB43A2346}" destId="{C165B3FD-7E7E-4C53-811E-983218881320}" srcOrd="0" destOrd="0" presId="urn:microsoft.com/office/officeart/2005/8/layout/hList1"/>
    <dgm:cxn modelId="{BFC68B24-D846-4AD7-91D6-9E09B3C83E4A}" type="presOf" srcId="{5EA6E817-98D2-4EDE-A51C-8847C2B41A76}" destId="{800403F9-7EAB-471D-8CCB-F37D5D92EBD5}" srcOrd="0" destOrd="0" presId="urn:microsoft.com/office/officeart/2005/8/layout/hList1"/>
    <dgm:cxn modelId="{42356D63-BA96-45C5-9470-9CA5F0720B20}" srcId="{0906EF17-0AB0-416F-AA6A-3C5C18A16AEB}" destId="{5EA6E817-98D2-4EDE-A51C-8847C2B41A76}" srcOrd="0" destOrd="0" parTransId="{3C6F3A8F-77D2-493E-A6E0-54C3E24C102F}" sibTransId="{3D3AC991-BC42-4BF6-BC2D-2C2976A281CE}"/>
    <dgm:cxn modelId="{ADB38E89-D966-4B35-AE51-58DA731A0305}" type="presOf" srcId="{0DB26415-3508-45CF-A853-FC701C3870E6}" destId="{3E599830-E475-44E8-8194-AD0CA31325C0}" srcOrd="0" destOrd="0" presId="urn:microsoft.com/office/officeart/2005/8/layout/hList1"/>
    <dgm:cxn modelId="{4C38CDDB-ECE3-4CAB-975D-80AD863FEB9F}" type="presOf" srcId="{7D168BA2-E1DA-407C-B227-A9D2457E4522}" destId="{3E599830-E475-44E8-8194-AD0CA31325C0}" srcOrd="0" destOrd="1" presId="urn:microsoft.com/office/officeart/2005/8/layout/hList1"/>
    <dgm:cxn modelId="{1D308377-9D46-4AA0-AF3E-619133F659B7}" srcId="{5EA6E817-98D2-4EDE-A51C-8847C2B41A76}" destId="{26491092-66E4-43FF-8904-952C531D403E}" srcOrd="0" destOrd="0" parTransId="{115A5BC7-DF46-4799-A9A2-106218B73034}" sibTransId="{DEB504EF-DA26-4362-8780-5E32409CFC5B}"/>
    <dgm:cxn modelId="{ED8B7E2A-D0B7-495F-BF6F-76E53889ADA8}" type="presParOf" srcId="{F2699C5D-14D2-482F-BFB6-74E84C446F34}" destId="{C46FE6E4-8989-4BB0-A9C0-19816706E4E7}" srcOrd="0" destOrd="0" presId="urn:microsoft.com/office/officeart/2005/8/layout/hList1"/>
    <dgm:cxn modelId="{EA24C521-FFCB-4373-B474-8C3051946AD3}" type="presParOf" srcId="{C46FE6E4-8989-4BB0-A9C0-19816706E4E7}" destId="{800403F9-7EAB-471D-8CCB-F37D5D92EBD5}" srcOrd="0" destOrd="0" presId="urn:microsoft.com/office/officeart/2005/8/layout/hList1"/>
    <dgm:cxn modelId="{6D096207-AA92-46F6-BD40-F37949DA25E5}" type="presParOf" srcId="{C46FE6E4-8989-4BB0-A9C0-19816706E4E7}" destId="{3CBFF8A9-23B1-478E-AFD7-197F97E5C501}" srcOrd="1" destOrd="0" presId="urn:microsoft.com/office/officeart/2005/8/layout/hList1"/>
    <dgm:cxn modelId="{1E7F9221-661A-4715-82A0-DB0A8686830F}" type="presParOf" srcId="{F2699C5D-14D2-482F-BFB6-74E84C446F34}" destId="{91B6907F-6D58-48AA-A592-DBC8589FDD18}" srcOrd="1" destOrd="0" presId="urn:microsoft.com/office/officeart/2005/8/layout/hList1"/>
    <dgm:cxn modelId="{7D968B94-BB84-43D9-A69A-1E053C5E06A5}" type="presParOf" srcId="{F2699C5D-14D2-482F-BFB6-74E84C446F34}" destId="{A39156D6-EA55-4E58-A80A-AC51F958031D}" srcOrd="2" destOrd="0" presId="urn:microsoft.com/office/officeart/2005/8/layout/hList1"/>
    <dgm:cxn modelId="{E38B5BC6-93CB-40C6-9E26-9F4CA2E58674}" type="presParOf" srcId="{A39156D6-EA55-4E58-A80A-AC51F958031D}" destId="{C165B3FD-7E7E-4C53-811E-983218881320}" srcOrd="0" destOrd="0" presId="urn:microsoft.com/office/officeart/2005/8/layout/hList1"/>
    <dgm:cxn modelId="{175B3AD3-5BF9-4F2D-8C66-E06DB9D30B0E}" type="presParOf" srcId="{A39156D6-EA55-4E58-A80A-AC51F958031D}" destId="{3E599830-E475-44E8-8194-AD0CA31325C0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ED149D0-14D4-46B4-9E59-3DD054DE462F}" type="doc">
      <dgm:prSet loTypeId="urn:microsoft.com/office/officeart/2005/8/layout/hList1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zh-TW" altLang="en-US"/>
        </a:p>
      </dgm:t>
    </dgm:pt>
    <dgm:pt modelId="{3B61924A-67DF-44F2-BAAE-242D91F5421F}">
      <dgm:prSet phldrT="[文字]"/>
      <dgm:spPr/>
      <dgm:t>
        <a:bodyPr/>
        <a:lstStyle/>
        <a:p>
          <a:r>
            <a:rPr lang="zh-TW" altLang="en-US" dirty="0" smtClean="0"/>
            <a:t>興趣</a:t>
          </a:r>
          <a:endParaRPr lang="zh-TW" altLang="en-US" dirty="0"/>
        </a:p>
      </dgm:t>
    </dgm:pt>
    <dgm:pt modelId="{0F04FB88-042E-4DB2-AC24-A4E967436E65}" type="parTrans" cxnId="{75F27CD7-FC5D-4FAA-93FF-4EA5D596AA0C}">
      <dgm:prSet/>
      <dgm:spPr/>
      <dgm:t>
        <a:bodyPr/>
        <a:lstStyle/>
        <a:p>
          <a:endParaRPr lang="zh-TW" altLang="en-US"/>
        </a:p>
      </dgm:t>
    </dgm:pt>
    <dgm:pt modelId="{5FEAE93B-1AD9-42D7-A6CE-6FBF799A5B2C}" type="sibTrans" cxnId="{75F27CD7-FC5D-4FAA-93FF-4EA5D596AA0C}">
      <dgm:prSet/>
      <dgm:spPr/>
      <dgm:t>
        <a:bodyPr/>
        <a:lstStyle/>
        <a:p>
          <a:endParaRPr lang="zh-TW" altLang="en-US"/>
        </a:p>
      </dgm:t>
    </dgm:pt>
    <dgm:pt modelId="{BE268A3E-A18B-4D9C-B2EA-DF3B47BB8A9F}">
      <dgm:prSet phldrT="[文字]"/>
      <dgm:spPr/>
      <dgm:t>
        <a:bodyPr/>
        <a:lstStyle/>
        <a:p>
          <a:r>
            <a:rPr lang="zh-TW" altLang="en-US" dirty="0" smtClean="0"/>
            <a:t>自助旅行</a:t>
          </a:r>
          <a:endParaRPr lang="zh-TW" altLang="en-US" dirty="0"/>
        </a:p>
      </dgm:t>
    </dgm:pt>
    <dgm:pt modelId="{1778A486-DEE3-4FE9-97FC-C7FCA980ED57}" type="parTrans" cxnId="{AA79AD6B-26B7-4BA4-B32C-882E7FC2E916}">
      <dgm:prSet/>
      <dgm:spPr/>
      <dgm:t>
        <a:bodyPr/>
        <a:lstStyle/>
        <a:p>
          <a:endParaRPr lang="zh-TW" altLang="en-US"/>
        </a:p>
      </dgm:t>
    </dgm:pt>
    <dgm:pt modelId="{B8413179-28DF-4B04-8A88-22FEA7992C51}" type="sibTrans" cxnId="{AA79AD6B-26B7-4BA4-B32C-882E7FC2E916}">
      <dgm:prSet/>
      <dgm:spPr/>
      <dgm:t>
        <a:bodyPr/>
        <a:lstStyle/>
        <a:p>
          <a:endParaRPr lang="zh-TW" altLang="en-US"/>
        </a:p>
      </dgm:t>
    </dgm:pt>
    <dgm:pt modelId="{6EAA3075-F8FB-48CF-973E-DB980AFE6F9B}">
      <dgm:prSet phldrT="[文字]"/>
      <dgm:spPr/>
      <dgm:t>
        <a:bodyPr/>
        <a:lstStyle/>
        <a:p>
          <a:r>
            <a:rPr lang="zh-TW" altLang="en-US" dirty="0" smtClean="0"/>
            <a:t>外語學習</a:t>
          </a:r>
          <a:endParaRPr lang="zh-TW" altLang="en-US" dirty="0"/>
        </a:p>
      </dgm:t>
    </dgm:pt>
    <dgm:pt modelId="{2EB7A816-4C4B-4A8C-A7EB-593EE26E9084}" type="parTrans" cxnId="{E44CD2CF-FCB3-4C8F-8638-17D17569AB87}">
      <dgm:prSet/>
      <dgm:spPr/>
      <dgm:t>
        <a:bodyPr/>
        <a:lstStyle/>
        <a:p>
          <a:endParaRPr lang="zh-TW" altLang="en-US"/>
        </a:p>
      </dgm:t>
    </dgm:pt>
    <dgm:pt modelId="{2FE3CA10-DFE1-47DE-A363-877FAAA9D7D8}" type="sibTrans" cxnId="{E44CD2CF-FCB3-4C8F-8638-17D17569AB87}">
      <dgm:prSet/>
      <dgm:spPr/>
      <dgm:t>
        <a:bodyPr/>
        <a:lstStyle/>
        <a:p>
          <a:endParaRPr lang="zh-TW" altLang="en-US"/>
        </a:p>
      </dgm:t>
    </dgm:pt>
    <dgm:pt modelId="{942BA751-6DD9-48D9-B133-B2C29F9ABC90}">
      <dgm:prSet phldrT="[文字]"/>
      <dgm:spPr/>
      <dgm:t>
        <a:bodyPr/>
        <a:lstStyle/>
        <a:p>
          <a:r>
            <a:rPr lang="zh-TW" altLang="en-US" dirty="0" smtClean="0"/>
            <a:t>專長</a:t>
          </a:r>
          <a:endParaRPr lang="zh-TW" altLang="en-US" dirty="0"/>
        </a:p>
      </dgm:t>
    </dgm:pt>
    <dgm:pt modelId="{E767E76F-25C2-4865-BC7D-3FDD58F60D66}" type="parTrans" cxnId="{305093B6-6712-4413-9D35-60C57BBFABAB}">
      <dgm:prSet/>
      <dgm:spPr/>
      <dgm:t>
        <a:bodyPr/>
        <a:lstStyle/>
        <a:p>
          <a:endParaRPr lang="zh-TW" altLang="en-US"/>
        </a:p>
      </dgm:t>
    </dgm:pt>
    <dgm:pt modelId="{9BF6074A-D4A6-4FCD-A646-22A17DD3D56B}" type="sibTrans" cxnId="{305093B6-6712-4413-9D35-60C57BBFABAB}">
      <dgm:prSet/>
      <dgm:spPr/>
      <dgm:t>
        <a:bodyPr/>
        <a:lstStyle/>
        <a:p>
          <a:endParaRPr lang="zh-TW" altLang="en-US"/>
        </a:p>
      </dgm:t>
    </dgm:pt>
    <dgm:pt modelId="{A2F29EFB-729D-4DBC-A8EA-8FBB463FD970}">
      <dgm:prSet phldrT="[文字]"/>
      <dgm:spPr/>
      <dgm:t>
        <a:bodyPr/>
        <a:lstStyle/>
        <a:p>
          <a:r>
            <a:rPr lang="zh-TW" altLang="en-US" dirty="0" smtClean="0"/>
            <a:t>樂器演奏</a:t>
          </a:r>
          <a:endParaRPr lang="zh-TW" altLang="en-US" dirty="0"/>
        </a:p>
      </dgm:t>
    </dgm:pt>
    <dgm:pt modelId="{D4512C88-F769-4C97-84F4-C61251811672}" type="parTrans" cxnId="{68AC3277-69D2-4B1E-AFC7-03816DD66FA4}">
      <dgm:prSet/>
      <dgm:spPr/>
      <dgm:t>
        <a:bodyPr/>
        <a:lstStyle/>
        <a:p>
          <a:endParaRPr lang="zh-TW" altLang="en-US"/>
        </a:p>
      </dgm:t>
    </dgm:pt>
    <dgm:pt modelId="{8E1D072A-69DE-45A4-9549-C13976CDC0D4}" type="sibTrans" cxnId="{68AC3277-69D2-4B1E-AFC7-03816DD66FA4}">
      <dgm:prSet/>
      <dgm:spPr/>
      <dgm:t>
        <a:bodyPr/>
        <a:lstStyle/>
        <a:p>
          <a:endParaRPr lang="zh-TW" altLang="en-US"/>
        </a:p>
      </dgm:t>
    </dgm:pt>
    <dgm:pt modelId="{B9C1BDE0-885E-4A9C-8EE0-91F2211AD5C8}">
      <dgm:prSet phldrT="[文字]"/>
      <dgm:spPr/>
      <dgm:t>
        <a:bodyPr/>
        <a:lstStyle/>
        <a:p>
          <a:r>
            <a:rPr lang="zh-TW" altLang="en-US" dirty="0" smtClean="0"/>
            <a:t>語言能力</a:t>
          </a:r>
          <a:endParaRPr lang="zh-TW" altLang="en-US" dirty="0"/>
        </a:p>
      </dgm:t>
    </dgm:pt>
    <dgm:pt modelId="{142C4C0C-B0AD-4046-8F95-1257F6CDB3EF}" type="parTrans" cxnId="{7524F583-8C8B-4FC9-977F-A1450E2A08BC}">
      <dgm:prSet/>
      <dgm:spPr/>
      <dgm:t>
        <a:bodyPr/>
        <a:lstStyle/>
        <a:p>
          <a:endParaRPr lang="zh-TW" altLang="en-US"/>
        </a:p>
      </dgm:t>
    </dgm:pt>
    <dgm:pt modelId="{CE1FE30B-0E7E-4D30-B47B-F40A76C886ED}" type="sibTrans" cxnId="{7524F583-8C8B-4FC9-977F-A1450E2A08BC}">
      <dgm:prSet/>
      <dgm:spPr/>
      <dgm:t>
        <a:bodyPr/>
        <a:lstStyle/>
        <a:p>
          <a:endParaRPr lang="zh-TW" altLang="en-US"/>
        </a:p>
      </dgm:t>
    </dgm:pt>
    <dgm:pt modelId="{7EE8AE7F-B080-4E52-8A64-730E5CBE577E}" type="pres">
      <dgm:prSet presAssocID="{4ED149D0-14D4-46B4-9E59-3DD054DE462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TW" altLang="en-US"/>
        </a:p>
      </dgm:t>
    </dgm:pt>
    <dgm:pt modelId="{E99555A0-B464-4C5C-A724-4095118C1D09}" type="pres">
      <dgm:prSet presAssocID="{3B61924A-67DF-44F2-BAAE-242D91F5421F}" presName="composite" presStyleCnt="0"/>
      <dgm:spPr/>
    </dgm:pt>
    <dgm:pt modelId="{4A150DD9-EE3A-4BFB-8EED-ACD962DD696E}" type="pres">
      <dgm:prSet presAssocID="{3B61924A-67DF-44F2-BAAE-242D91F5421F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57029634-39EB-44A2-BE71-A1557EB5769E}" type="pres">
      <dgm:prSet presAssocID="{3B61924A-67DF-44F2-BAAE-242D91F5421F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09E7C736-E22A-43C5-92F7-5C7EE3263F14}" type="pres">
      <dgm:prSet presAssocID="{5FEAE93B-1AD9-42D7-A6CE-6FBF799A5B2C}" presName="space" presStyleCnt="0"/>
      <dgm:spPr/>
    </dgm:pt>
    <dgm:pt modelId="{D5F72F14-CCDA-40D5-A10C-4AA1428BC573}" type="pres">
      <dgm:prSet presAssocID="{942BA751-6DD9-48D9-B133-B2C29F9ABC90}" presName="composite" presStyleCnt="0"/>
      <dgm:spPr/>
    </dgm:pt>
    <dgm:pt modelId="{06EA4EDD-ED94-4F33-9662-2BE8C93837DD}" type="pres">
      <dgm:prSet presAssocID="{942BA751-6DD9-48D9-B133-B2C29F9ABC90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255DA7A4-1ABE-4074-A459-2C37A641F008}" type="pres">
      <dgm:prSet presAssocID="{942BA751-6DD9-48D9-B133-B2C29F9ABC90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</dgm:ptLst>
  <dgm:cxnLst>
    <dgm:cxn modelId="{FF6F90A5-E93E-44CD-AAAF-4EC22A65F0DD}" type="presOf" srcId="{BE268A3E-A18B-4D9C-B2EA-DF3B47BB8A9F}" destId="{57029634-39EB-44A2-BE71-A1557EB5769E}" srcOrd="0" destOrd="0" presId="urn:microsoft.com/office/officeart/2005/8/layout/hList1"/>
    <dgm:cxn modelId="{59E41999-B06F-4CF4-B394-D6FCE977C165}" type="presOf" srcId="{3B61924A-67DF-44F2-BAAE-242D91F5421F}" destId="{4A150DD9-EE3A-4BFB-8EED-ACD962DD696E}" srcOrd="0" destOrd="0" presId="urn:microsoft.com/office/officeart/2005/8/layout/hList1"/>
    <dgm:cxn modelId="{AA79AD6B-26B7-4BA4-B32C-882E7FC2E916}" srcId="{3B61924A-67DF-44F2-BAAE-242D91F5421F}" destId="{BE268A3E-A18B-4D9C-B2EA-DF3B47BB8A9F}" srcOrd="0" destOrd="0" parTransId="{1778A486-DEE3-4FE9-97FC-C7FCA980ED57}" sibTransId="{B8413179-28DF-4B04-8A88-22FEA7992C51}"/>
    <dgm:cxn modelId="{68AC3277-69D2-4B1E-AFC7-03816DD66FA4}" srcId="{942BA751-6DD9-48D9-B133-B2C29F9ABC90}" destId="{A2F29EFB-729D-4DBC-A8EA-8FBB463FD970}" srcOrd="0" destOrd="0" parTransId="{D4512C88-F769-4C97-84F4-C61251811672}" sibTransId="{8E1D072A-69DE-45A4-9549-C13976CDC0D4}"/>
    <dgm:cxn modelId="{7524F583-8C8B-4FC9-977F-A1450E2A08BC}" srcId="{942BA751-6DD9-48D9-B133-B2C29F9ABC90}" destId="{B9C1BDE0-885E-4A9C-8EE0-91F2211AD5C8}" srcOrd="1" destOrd="0" parTransId="{142C4C0C-B0AD-4046-8F95-1257F6CDB3EF}" sibTransId="{CE1FE30B-0E7E-4D30-B47B-F40A76C886ED}"/>
    <dgm:cxn modelId="{2E86479C-C026-4A1E-97D3-8228E2FB396E}" type="presOf" srcId="{942BA751-6DD9-48D9-B133-B2C29F9ABC90}" destId="{06EA4EDD-ED94-4F33-9662-2BE8C93837DD}" srcOrd="0" destOrd="0" presId="urn:microsoft.com/office/officeart/2005/8/layout/hList1"/>
    <dgm:cxn modelId="{D23148DD-D2C3-4255-A8E0-CA24B25EB754}" type="presOf" srcId="{A2F29EFB-729D-4DBC-A8EA-8FBB463FD970}" destId="{255DA7A4-1ABE-4074-A459-2C37A641F008}" srcOrd="0" destOrd="0" presId="urn:microsoft.com/office/officeart/2005/8/layout/hList1"/>
    <dgm:cxn modelId="{3D87703A-7E69-44CC-BC05-EEBF35FBF854}" type="presOf" srcId="{4ED149D0-14D4-46B4-9E59-3DD054DE462F}" destId="{7EE8AE7F-B080-4E52-8A64-730E5CBE577E}" srcOrd="0" destOrd="0" presId="urn:microsoft.com/office/officeart/2005/8/layout/hList1"/>
    <dgm:cxn modelId="{E44CD2CF-FCB3-4C8F-8638-17D17569AB87}" srcId="{3B61924A-67DF-44F2-BAAE-242D91F5421F}" destId="{6EAA3075-F8FB-48CF-973E-DB980AFE6F9B}" srcOrd="1" destOrd="0" parTransId="{2EB7A816-4C4B-4A8C-A7EB-593EE26E9084}" sibTransId="{2FE3CA10-DFE1-47DE-A363-877FAAA9D7D8}"/>
    <dgm:cxn modelId="{1F36F5D0-6977-432F-8B4C-5AB0354C3B26}" type="presOf" srcId="{6EAA3075-F8FB-48CF-973E-DB980AFE6F9B}" destId="{57029634-39EB-44A2-BE71-A1557EB5769E}" srcOrd="0" destOrd="1" presId="urn:microsoft.com/office/officeart/2005/8/layout/hList1"/>
    <dgm:cxn modelId="{305093B6-6712-4413-9D35-60C57BBFABAB}" srcId="{4ED149D0-14D4-46B4-9E59-3DD054DE462F}" destId="{942BA751-6DD9-48D9-B133-B2C29F9ABC90}" srcOrd="1" destOrd="0" parTransId="{E767E76F-25C2-4865-BC7D-3FDD58F60D66}" sibTransId="{9BF6074A-D4A6-4FCD-A646-22A17DD3D56B}"/>
    <dgm:cxn modelId="{ECA9D077-191F-4137-9482-B227EC382BD4}" type="presOf" srcId="{B9C1BDE0-885E-4A9C-8EE0-91F2211AD5C8}" destId="{255DA7A4-1ABE-4074-A459-2C37A641F008}" srcOrd="0" destOrd="1" presId="urn:microsoft.com/office/officeart/2005/8/layout/hList1"/>
    <dgm:cxn modelId="{75F27CD7-FC5D-4FAA-93FF-4EA5D596AA0C}" srcId="{4ED149D0-14D4-46B4-9E59-3DD054DE462F}" destId="{3B61924A-67DF-44F2-BAAE-242D91F5421F}" srcOrd="0" destOrd="0" parTransId="{0F04FB88-042E-4DB2-AC24-A4E967436E65}" sibTransId="{5FEAE93B-1AD9-42D7-A6CE-6FBF799A5B2C}"/>
    <dgm:cxn modelId="{7CDE02F3-4DE4-44BA-A526-594152E3D10C}" type="presParOf" srcId="{7EE8AE7F-B080-4E52-8A64-730E5CBE577E}" destId="{E99555A0-B464-4C5C-A724-4095118C1D09}" srcOrd="0" destOrd="0" presId="urn:microsoft.com/office/officeart/2005/8/layout/hList1"/>
    <dgm:cxn modelId="{D82F0321-278B-435E-8718-BEFE54AB3FA3}" type="presParOf" srcId="{E99555A0-B464-4C5C-A724-4095118C1D09}" destId="{4A150DD9-EE3A-4BFB-8EED-ACD962DD696E}" srcOrd="0" destOrd="0" presId="urn:microsoft.com/office/officeart/2005/8/layout/hList1"/>
    <dgm:cxn modelId="{C4E5D720-98A1-4C18-830C-B112FD0E7260}" type="presParOf" srcId="{E99555A0-B464-4C5C-A724-4095118C1D09}" destId="{57029634-39EB-44A2-BE71-A1557EB5769E}" srcOrd="1" destOrd="0" presId="urn:microsoft.com/office/officeart/2005/8/layout/hList1"/>
    <dgm:cxn modelId="{4BF4333F-3981-4544-8020-6F1AD75CCB42}" type="presParOf" srcId="{7EE8AE7F-B080-4E52-8A64-730E5CBE577E}" destId="{09E7C736-E22A-43C5-92F7-5C7EE3263F14}" srcOrd="1" destOrd="0" presId="urn:microsoft.com/office/officeart/2005/8/layout/hList1"/>
    <dgm:cxn modelId="{1A8CD0CF-69C4-498F-9293-B8DBDE022BF6}" type="presParOf" srcId="{7EE8AE7F-B080-4E52-8A64-730E5CBE577E}" destId="{D5F72F14-CCDA-40D5-A10C-4AA1428BC573}" srcOrd="2" destOrd="0" presId="urn:microsoft.com/office/officeart/2005/8/layout/hList1"/>
    <dgm:cxn modelId="{8AE98930-FBA4-4C50-B529-5CFA910F178C}" type="presParOf" srcId="{D5F72F14-CCDA-40D5-A10C-4AA1428BC573}" destId="{06EA4EDD-ED94-4F33-9662-2BE8C93837DD}" srcOrd="0" destOrd="0" presId="urn:microsoft.com/office/officeart/2005/8/layout/hList1"/>
    <dgm:cxn modelId="{A996C50B-0875-4199-95B9-28CEE813B2B6}" type="presParOf" srcId="{D5F72F14-CCDA-40D5-A10C-4AA1428BC573}" destId="{255DA7A4-1ABE-4074-A459-2C37A641F00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0E6F951-E8CB-40CE-84C2-DBB70AA39535}" type="doc">
      <dgm:prSet loTypeId="urn:microsoft.com/office/officeart/2005/8/layout/chevron1" loCatId="process" qsTypeId="urn:microsoft.com/office/officeart/2005/8/quickstyle/simple1" qsCatId="simple" csTypeId="urn:microsoft.com/office/officeart/2005/8/colors/accent0_1" csCatId="mainScheme" phldr="1"/>
      <dgm:spPr/>
    </dgm:pt>
    <dgm:pt modelId="{7EC8BE5D-C837-402B-92B7-A356587441B4}">
      <dgm:prSet phldrT="[文字]" custT="1"/>
      <dgm:spPr/>
      <dgm:t>
        <a:bodyPr/>
        <a:lstStyle/>
        <a:p>
          <a:r>
            <a:rPr lang="zh-TW" altLang="en-US" sz="1600" dirty="0" smtClean="0"/>
            <a:t>介壽國中</a:t>
          </a:r>
          <a:endParaRPr lang="zh-TW" altLang="en-US" sz="1600" dirty="0"/>
        </a:p>
      </dgm:t>
    </dgm:pt>
    <dgm:pt modelId="{51ECFC58-EB6D-4206-B340-35795300CF63}" type="parTrans" cxnId="{FB2633A7-F482-43E2-B5CF-2753A8B4A6F4}">
      <dgm:prSet/>
      <dgm:spPr/>
      <dgm:t>
        <a:bodyPr/>
        <a:lstStyle/>
        <a:p>
          <a:endParaRPr lang="zh-TW" altLang="en-US" sz="1100"/>
        </a:p>
      </dgm:t>
    </dgm:pt>
    <dgm:pt modelId="{1F0ABA69-6F0A-48C1-90E5-E318C74B5984}" type="sibTrans" cxnId="{FB2633A7-F482-43E2-B5CF-2753A8B4A6F4}">
      <dgm:prSet/>
      <dgm:spPr/>
      <dgm:t>
        <a:bodyPr/>
        <a:lstStyle/>
        <a:p>
          <a:endParaRPr lang="zh-TW" altLang="en-US" sz="1100"/>
        </a:p>
      </dgm:t>
    </dgm:pt>
    <dgm:pt modelId="{B0B69337-0227-4093-B94E-5D6F0C777DB4}">
      <dgm:prSet phldrT="[文字]" custT="1"/>
      <dgm:spPr/>
      <dgm:t>
        <a:bodyPr/>
        <a:lstStyle/>
        <a:p>
          <a:r>
            <a:rPr lang="zh-TW" altLang="en-US" sz="1300" b="0" dirty="0" smtClean="0"/>
            <a:t>私</a:t>
          </a:r>
          <a:r>
            <a:rPr lang="zh-TW" altLang="en-US" sz="1300" dirty="0" smtClean="0"/>
            <a:t>立達人女中</a:t>
          </a:r>
          <a:endParaRPr lang="zh-TW" altLang="en-US" sz="1300" dirty="0"/>
        </a:p>
      </dgm:t>
    </dgm:pt>
    <dgm:pt modelId="{902B4A2C-D2A6-440D-B1B4-C7F1011AC71D}" type="parTrans" cxnId="{7242966D-8B2D-4FBB-BA9D-D7A19DADEDDD}">
      <dgm:prSet/>
      <dgm:spPr/>
      <dgm:t>
        <a:bodyPr/>
        <a:lstStyle/>
        <a:p>
          <a:endParaRPr lang="zh-TW" altLang="en-US" sz="1100"/>
        </a:p>
      </dgm:t>
    </dgm:pt>
    <dgm:pt modelId="{EB578801-78A0-4B25-B66E-ABE565A132BD}" type="sibTrans" cxnId="{7242966D-8B2D-4FBB-BA9D-D7A19DADEDDD}">
      <dgm:prSet/>
      <dgm:spPr/>
      <dgm:t>
        <a:bodyPr/>
        <a:lstStyle/>
        <a:p>
          <a:endParaRPr lang="zh-TW" altLang="en-US" sz="1100"/>
        </a:p>
      </dgm:t>
    </dgm:pt>
    <dgm:pt modelId="{60FF4891-7748-412B-9506-9CD08FE26915}">
      <dgm:prSet phldrT="[文字]" custT="1"/>
      <dgm:spPr/>
      <dgm:t>
        <a:bodyPr/>
        <a:lstStyle/>
        <a:p>
          <a:r>
            <a:rPr lang="zh-TW" altLang="en-US" sz="1000" dirty="0" smtClean="0"/>
            <a:t>美國</a:t>
          </a:r>
          <a:r>
            <a:rPr lang="en-US" altLang="zh-TW" sz="1000" dirty="0" smtClean="0"/>
            <a:t>Tipton High School</a:t>
          </a:r>
          <a:endParaRPr lang="zh-TW" altLang="en-US" sz="1000" dirty="0"/>
        </a:p>
      </dgm:t>
    </dgm:pt>
    <dgm:pt modelId="{B791FE69-8F2B-4690-B0C4-29F3AA93AD3E}" type="parTrans" cxnId="{F62CD267-EC87-4C79-A17B-4DB62FB384F8}">
      <dgm:prSet/>
      <dgm:spPr/>
      <dgm:t>
        <a:bodyPr/>
        <a:lstStyle/>
        <a:p>
          <a:endParaRPr lang="zh-TW" altLang="en-US" sz="1100"/>
        </a:p>
      </dgm:t>
    </dgm:pt>
    <dgm:pt modelId="{5A62F532-5C72-4C03-99CB-55205B976E6C}" type="sibTrans" cxnId="{F62CD267-EC87-4C79-A17B-4DB62FB384F8}">
      <dgm:prSet/>
      <dgm:spPr/>
      <dgm:t>
        <a:bodyPr/>
        <a:lstStyle/>
        <a:p>
          <a:endParaRPr lang="zh-TW" altLang="en-US" sz="1100"/>
        </a:p>
      </dgm:t>
    </dgm:pt>
    <dgm:pt modelId="{9911806F-E712-458D-B130-5DB0AB31CF76}">
      <dgm:prSet phldrT="[文字]" custT="1"/>
      <dgm:spPr/>
      <dgm:t>
        <a:bodyPr/>
        <a:lstStyle/>
        <a:p>
          <a:r>
            <a:rPr lang="zh-TW" altLang="en-US" sz="1300" b="0" dirty="0" smtClean="0"/>
            <a:t>私</a:t>
          </a:r>
          <a:r>
            <a:rPr lang="zh-TW" altLang="en-US" sz="1300" dirty="0" smtClean="0"/>
            <a:t>立銘傳大學</a:t>
          </a:r>
          <a:endParaRPr lang="zh-TW" altLang="en-US" sz="1300" dirty="0"/>
        </a:p>
      </dgm:t>
    </dgm:pt>
    <dgm:pt modelId="{42211EFD-9138-4861-8CF3-763CFC47169A}" type="parTrans" cxnId="{50F3208D-9F5A-4B0C-B661-12BF85A57944}">
      <dgm:prSet/>
      <dgm:spPr/>
      <dgm:t>
        <a:bodyPr/>
        <a:lstStyle/>
        <a:p>
          <a:endParaRPr lang="zh-TW" altLang="en-US" sz="1100"/>
        </a:p>
      </dgm:t>
    </dgm:pt>
    <dgm:pt modelId="{5A338728-8D7D-4DD1-8F61-92008D8FA01C}" type="sibTrans" cxnId="{50F3208D-9F5A-4B0C-B661-12BF85A57944}">
      <dgm:prSet/>
      <dgm:spPr/>
      <dgm:t>
        <a:bodyPr/>
        <a:lstStyle/>
        <a:p>
          <a:endParaRPr lang="zh-TW" altLang="en-US" sz="1100"/>
        </a:p>
      </dgm:t>
    </dgm:pt>
    <dgm:pt modelId="{78C3C96D-E394-44EA-853F-F7A3E32BFEFE}">
      <dgm:prSet phldrT="[文字]" custT="1"/>
      <dgm:spPr/>
      <dgm:t>
        <a:bodyPr/>
        <a:lstStyle/>
        <a:p>
          <a:r>
            <a:rPr lang="zh-TW" altLang="en-US" sz="1600" dirty="0" smtClean="0"/>
            <a:t>健康國小</a:t>
          </a:r>
          <a:endParaRPr lang="zh-TW" altLang="en-US" sz="1600" dirty="0"/>
        </a:p>
      </dgm:t>
    </dgm:pt>
    <dgm:pt modelId="{04894E05-B58A-47CC-85DC-B0FE348D0032}" type="sibTrans" cxnId="{095F612A-4D19-4052-9FA8-C78374C7363B}">
      <dgm:prSet/>
      <dgm:spPr/>
      <dgm:t>
        <a:bodyPr/>
        <a:lstStyle/>
        <a:p>
          <a:endParaRPr lang="zh-TW" altLang="en-US" sz="1100"/>
        </a:p>
      </dgm:t>
    </dgm:pt>
    <dgm:pt modelId="{646F7A65-4DC8-4751-9261-EE2D65C6A531}" type="parTrans" cxnId="{095F612A-4D19-4052-9FA8-C78374C7363B}">
      <dgm:prSet/>
      <dgm:spPr/>
      <dgm:t>
        <a:bodyPr/>
        <a:lstStyle/>
        <a:p>
          <a:endParaRPr lang="zh-TW" altLang="en-US" sz="1100"/>
        </a:p>
      </dgm:t>
    </dgm:pt>
    <dgm:pt modelId="{AC6FC0E2-CF8A-49AF-B5DF-E01193F6DEF1}" type="pres">
      <dgm:prSet presAssocID="{40E6F951-E8CB-40CE-84C2-DBB70AA39535}" presName="Name0" presStyleCnt="0">
        <dgm:presLayoutVars>
          <dgm:dir/>
          <dgm:animLvl val="lvl"/>
          <dgm:resizeHandles val="exact"/>
        </dgm:presLayoutVars>
      </dgm:prSet>
      <dgm:spPr/>
    </dgm:pt>
    <dgm:pt modelId="{60B4AF8C-6AAF-4374-945D-60F4A2EC1358}" type="pres">
      <dgm:prSet presAssocID="{78C3C96D-E394-44EA-853F-F7A3E32BFEFE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9CFAA92A-D8CF-4545-A1DD-221288DBC58A}" type="pres">
      <dgm:prSet presAssocID="{04894E05-B58A-47CC-85DC-B0FE348D0032}" presName="parTxOnlySpace" presStyleCnt="0"/>
      <dgm:spPr/>
    </dgm:pt>
    <dgm:pt modelId="{C89D93E2-1F2C-4969-BA5B-0439DF715811}" type="pres">
      <dgm:prSet presAssocID="{7EC8BE5D-C837-402B-92B7-A356587441B4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8A96F9D9-3C00-4557-86F3-FE6D4ABE7AE5}" type="pres">
      <dgm:prSet presAssocID="{1F0ABA69-6F0A-48C1-90E5-E318C74B5984}" presName="parTxOnlySpace" presStyleCnt="0"/>
      <dgm:spPr/>
    </dgm:pt>
    <dgm:pt modelId="{66D60B58-6E8A-4E16-AE4D-20B8177680D4}" type="pres">
      <dgm:prSet presAssocID="{B0B69337-0227-4093-B94E-5D6F0C777DB4}" presName="parTxOnly" presStyleLbl="node1" presStyleIdx="2" presStyleCnt="5" custLinFactNeighborX="-2872" custLinFactNeighborY="35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2FC7F86F-5BD0-4DE1-9612-E3EFF94C51C4}" type="pres">
      <dgm:prSet presAssocID="{EB578801-78A0-4B25-B66E-ABE565A132BD}" presName="parTxOnlySpace" presStyleCnt="0"/>
      <dgm:spPr/>
    </dgm:pt>
    <dgm:pt modelId="{3115E42D-0294-44B2-8F1A-43084249F832}" type="pres">
      <dgm:prSet presAssocID="{60FF4891-7748-412B-9506-9CD08FE26915}" presName="parTxOnly" presStyleLbl="node1" presStyleIdx="3" presStyleCnt="5" custLinFactNeighborX="-2872" custLinFactNeighborY="35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E38F1A36-A47F-49BD-842B-DEA2B40836F0}" type="pres">
      <dgm:prSet presAssocID="{5A62F532-5C72-4C03-99CB-55205B976E6C}" presName="parTxOnlySpace" presStyleCnt="0"/>
      <dgm:spPr/>
    </dgm:pt>
    <dgm:pt modelId="{18DB21F5-AD8C-4625-B147-1A0613EFB677}" type="pres">
      <dgm:prSet presAssocID="{9911806F-E712-458D-B130-5DB0AB31CF76}" presName="parTxOnly" presStyleLbl="node1" presStyleIdx="4" presStyleCnt="5" custLinFactNeighborX="-2872" custLinFactNeighborY="35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</dgm:ptLst>
  <dgm:cxnLst>
    <dgm:cxn modelId="{50F3208D-9F5A-4B0C-B661-12BF85A57944}" srcId="{40E6F951-E8CB-40CE-84C2-DBB70AA39535}" destId="{9911806F-E712-458D-B130-5DB0AB31CF76}" srcOrd="4" destOrd="0" parTransId="{42211EFD-9138-4861-8CF3-763CFC47169A}" sibTransId="{5A338728-8D7D-4DD1-8F61-92008D8FA01C}"/>
    <dgm:cxn modelId="{169C7FFA-19A4-4046-AF4D-D6DA0E4BC553}" type="presOf" srcId="{9911806F-E712-458D-B130-5DB0AB31CF76}" destId="{18DB21F5-AD8C-4625-B147-1A0613EFB677}" srcOrd="0" destOrd="0" presId="urn:microsoft.com/office/officeart/2005/8/layout/chevron1"/>
    <dgm:cxn modelId="{7242966D-8B2D-4FBB-BA9D-D7A19DADEDDD}" srcId="{40E6F951-E8CB-40CE-84C2-DBB70AA39535}" destId="{B0B69337-0227-4093-B94E-5D6F0C777DB4}" srcOrd="2" destOrd="0" parTransId="{902B4A2C-D2A6-440D-B1B4-C7F1011AC71D}" sibTransId="{EB578801-78A0-4B25-B66E-ABE565A132BD}"/>
    <dgm:cxn modelId="{E568549B-36F1-46C6-A9CA-F1795CE56E5E}" type="presOf" srcId="{B0B69337-0227-4093-B94E-5D6F0C777DB4}" destId="{66D60B58-6E8A-4E16-AE4D-20B8177680D4}" srcOrd="0" destOrd="0" presId="urn:microsoft.com/office/officeart/2005/8/layout/chevron1"/>
    <dgm:cxn modelId="{2D726772-02F7-45BA-B3AE-A480907EE675}" type="presOf" srcId="{78C3C96D-E394-44EA-853F-F7A3E32BFEFE}" destId="{60B4AF8C-6AAF-4374-945D-60F4A2EC1358}" srcOrd="0" destOrd="0" presId="urn:microsoft.com/office/officeart/2005/8/layout/chevron1"/>
    <dgm:cxn modelId="{8E185F46-313C-473D-A623-2F388FC9BF1C}" type="presOf" srcId="{60FF4891-7748-412B-9506-9CD08FE26915}" destId="{3115E42D-0294-44B2-8F1A-43084249F832}" srcOrd="0" destOrd="0" presId="urn:microsoft.com/office/officeart/2005/8/layout/chevron1"/>
    <dgm:cxn modelId="{193175B8-B9DF-4B40-BE9C-671CAF09E939}" type="presOf" srcId="{7EC8BE5D-C837-402B-92B7-A356587441B4}" destId="{C89D93E2-1F2C-4969-BA5B-0439DF715811}" srcOrd="0" destOrd="0" presId="urn:microsoft.com/office/officeart/2005/8/layout/chevron1"/>
    <dgm:cxn modelId="{FB2633A7-F482-43E2-B5CF-2753A8B4A6F4}" srcId="{40E6F951-E8CB-40CE-84C2-DBB70AA39535}" destId="{7EC8BE5D-C837-402B-92B7-A356587441B4}" srcOrd="1" destOrd="0" parTransId="{51ECFC58-EB6D-4206-B340-35795300CF63}" sibTransId="{1F0ABA69-6F0A-48C1-90E5-E318C74B5984}"/>
    <dgm:cxn modelId="{095F612A-4D19-4052-9FA8-C78374C7363B}" srcId="{40E6F951-E8CB-40CE-84C2-DBB70AA39535}" destId="{78C3C96D-E394-44EA-853F-F7A3E32BFEFE}" srcOrd="0" destOrd="0" parTransId="{646F7A65-4DC8-4751-9261-EE2D65C6A531}" sibTransId="{04894E05-B58A-47CC-85DC-B0FE348D0032}"/>
    <dgm:cxn modelId="{489680E8-43B9-4D86-9BD0-EBA6B52489E7}" type="presOf" srcId="{40E6F951-E8CB-40CE-84C2-DBB70AA39535}" destId="{AC6FC0E2-CF8A-49AF-B5DF-E01193F6DEF1}" srcOrd="0" destOrd="0" presId="urn:microsoft.com/office/officeart/2005/8/layout/chevron1"/>
    <dgm:cxn modelId="{F62CD267-EC87-4C79-A17B-4DB62FB384F8}" srcId="{40E6F951-E8CB-40CE-84C2-DBB70AA39535}" destId="{60FF4891-7748-412B-9506-9CD08FE26915}" srcOrd="3" destOrd="0" parTransId="{B791FE69-8F2B-4690-B0C4-29F3AA93AD3E}" sibTransId="{5A62F532-5C72-4C03-99CB-55205B976E6C}"/>
    <dgm:cxn modelId="{316E298E-E52A-467D-B315-02D69615D597}" type="presParOf" srcId="{AC6FC0E2-CF8A-49AF-B5DF-E01193F6DEF1}" destId="{60B4AF8C-6AAF-4374-945D-60F4A2EC1358}" srcOrd="0" destOrd="0" presId="urn:microsoft.com/office/officeart/2005/8/layout/chevron1"/>
    <dgm:cxn modelId="{0F9FC634-BEF8-4F25-A9D3-60383564F8A8}" type="presParOf" srcId="{AC6FC0E2-CF8A-49AF-B5DF-E01193F6DEF1}" destId="{9CFAA92A-D8CF-4545-A1DD-221288DBC58A}" srcOrd="1" destOrd="0" presId="urn:microsoft.com/office/officeart/2005/8/layout/chevron1"/>
    <dgm:cxn modelId="{1C9436F6-3F62-416E-B90A-BF64480CB0BA}" type="presParOf" srcId="{AC6FC0E2-CF8A-49AF-B5DF-E01193F6DEF1}" destId="{C89D93E2-1F2C-4969-BA5B-0439DF715811}" srcOrd="2" destOrd="0" presId="urn:microsoft.com/office/officeart/2005/8/layout/chevron1"/>
    <dgm:cxn modelId="{FC5F9042-3EF8-4864-AF9C-DC52038D3AF5}" type="presParOf" srcId="{AC6FC0E2-CF8A-49AF-B5DF-E01193F6DEF1}" destId="{8A96F9D9-3C00-4557-86F3-FE6D4ABE7AE5}" srcOrd="3" destOrd="0" presId="urn:microsoft.com/office/officeart/2005/8/layout/chevron1"/>
    <dgm:cxn modelId="{019440FC-8A0F-42D0-8CB2-F9C73F2333DF}" type="presParOf" srcId="{AC6FC0E2-CF8A-49AF-B5DF-E01193F6DEF1}" destId="{66D60B58-6E8A-4E16-AE4D-20B8177680D4}" srcOrd="4" destOrd="0" presId="urn:microsoft.com/office/officeart/2005/8/layout/chevron1"/>
    <dgm:cxn modelId="{CA8046C3-916C-4F71-BBDB-79C1D74B19E1}" type="presParOf" srcId="{AC6FC0E2-CF8A-49AF-B5DF-E01193F6DEF1}" destId="{2FC7F86F-5BD0-4DE1-9612-E3EFF94C51C4}" srcOrd="5" destOrd="0" presId="urn:microsoft.com/office/officeart/2005/8/layout/chevron1"/>
    <dgm:cxn modelId="{AAD7EA9C-1E29-4E3C-B3A8-40F0795B6BB8}" type="presParOf" srcId="{AC6FC0E2-CF8A-49AF-B5DF-E01193F6DEF1}" destId="{3115E42D-0294-44B2-8F1A-43084249F832}" srcOrd="6" destOrd="0" presId="urn:microsoft.com/office/officeart/2005/8/layout/chevron1"/>
    <dgm:cxn modelId="{019FF782-87D7-4D0D-B828-9D7BC67DEA84}" type="presParOf" srcId="{AC6FC0E2-CF8A-49AF-B5DF-E01193F6DEF1}" destId="{E38F1A36-A47F-49BD-842B-DEA2B40836F0}" srcOrd="7" destOrd="0" presId="urn:microsoft.com/office/officeart/2005/8/layout/chevron1"/>
    <dgm:cxn modelId="{73BE80AD-3DA5-4DB9-9016-7226C95EDBA0}" type="presParOf" srcId="{AC6FC0E2-CF8A-49AF-B5DF-E01193F6DEF1}" destId="{18DB21F5-AD8C-4625-B147-1A0613EFB677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0403F9-7EAB-471D-8CCB-F37D5D92EBD5}">
      <dsp:nvSpPr>
        <dsp:cNvPr id="0" name=""/>
        <dsp:cNvSpPr/>
      </dsp:nvSpPr>
      <dsp:spPr>
        <a:xfrm>
          <a:off x="32" y="36613"/>
          <a:ext cx="3095640" cy="576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2000" kern="1200" dirty="0" smtClean="0"/>
            <a:t>優點</a:t>
          </a:r>
          <a:endParaRPr lang="zh-TW" altLang="en-US" sz="2000" kern="1200" dirty="0"/>
        </a:p>
      </dsp:txBody>
      <dsp:txXfrm>
        <a:off x="32" y="36613"/>
        <a:ext cx="3095640" cy="576000"/>
      </dsp:txXfrm>
    </dsp:sp>
    <dsp:sp modelId="{3CBFF8A9-23B1-478E-AFD7-197F97E5C501}">
      <dsp:nvSpPr>
        <dsp:cNvPr id="0" name=""/>
        <dsp:cNvSpPr/>
      </dsp:nvSpPr>
      <dsp:spPr>
        <a:xfrm>
          <a:off x="32" y="612613"/>
          <a:ext cx="3095640" cy="116062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TW" altLang="en-US" sz="2000" kern="1200" dirty="0" smtClean="0"/>
            <a:t>外向活潑</a:t>
          </a:r>
          <a:endParaRPr lang="zh-TW" alt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TW" altLang="en-US" sz="2000" kern="1200" dirty="0" smtClean="0"/>
            <a:t>獨立自主</a:t>
          </a:r>
          <a:endParaRPr lang="zh-TW" altLang="en-US" sz="2000" kern="1200" dirty="0"/>
        </a:p>
      </dsp:txBody>
      <dsp:txXfrm>
        <a:off x="32" y="612613"/>
        <a:ext cx="3095640" cy="1160620"/>
      </dsp:txXfrm>
    </dsp:sp>
    <dsp:sp modelId="{C165B3FD-7E7E-4C53-811E-983218881320}">
      <dsp:nvSpPr>
        <dsp:cNvPr id="0" name=""/>
        <dsp:cNvSpPr/>
      </dsp:nvSpPr>
      <dsp:spPr>
        <a:xfrm>
          <a:off x="3529062" y="36613"/>
          <a:ext cx="3095640" cy="576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2000" kern="1200" dirty="0" smtClean="0"/>
            <a:t>缺點</a:t>
          </a:r>
          <a:endParaRPr lang="zh-TW" altLang="en-US" sz="2000" kern="1200" dirty="0"/>
        </a:p>
      </dsp:txBody>
      <dsp:txXfrm>
        <a:off x="3529062" y="36613"/>
        <a:ext cx="3095640" cy="576000"/>
      </dsp:txXfrm>
    </dsp:sp>
    <dsp:sp modelId="{3E599830-E475-44E8-8194-AD0CA31325C0}">
      <dsp:nvSpPr>
        <dsp:cNvPr id="0" name=""/>
        <dsp:cNvSpPr/>
      </dsp:nvSpPr>
      <dsp:spPr>
        <a:xfrm>
          <a:off x="3528381" y="585710"/>
          <a:ext cx="3095640" cy="116062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TW" altLang="en-US" sz="2000" kern="1200" dirty="0" smtClean="0"/>
            <a:t>固執</a:t>
          </a:r>
          <a:endParaRPr lang="zh-TW" alt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TW" altLang="en-US" sz="2000" kern="1200" dirty="0" smtClean="0"/>
            <a:t>不夠謹慎</a:t>
          </a:r>
          <a:endParaRPr lang="zh-TW" altLang="en-US" sz="2000" kern="1200" dirty="0"/>
        </a:p>
      </dsp:txBody>
      <dsp:txXfrm>
        <a:off x="3528381" y="585710"/>
        <a:ext cx="3095640" cy="11606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150DD9-EE3A-4BFB-8EED-ACD962DD696E}">
      <dsp:nvSpPr>
        <dsp:cNvPr id="0" name=""/>
        <dsp:cNvSpPr/>
      </dsp:nvSpPr>
      <dsp:spPr>
        <a:xfrm>
          <a:off x="31" y="31789"/>
          <a:ext cx="3061992" cy="576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2000" kern="1200" dirty="0" smtClean="0"/>
            <a:t>興趣</a:t>
          </a:r>
          <a:endParaRPr lang="zh-TW" altLang="en-US" sz="2000" kern="1200" dirty="0"/>
        </a:p>
      </dsp:txBody>
      <dsp:txXfrm>
        <a:off x="31" y="31789"/>
        <a:ext cx="3061992" cy="576000"/>
      </dsp:txXfrm>
    </dsp:sp>
    <dsp:sp modelId="{57029634-39EB-44A2-BE71-A1557EB5769E}">
      <dsp:nvSpPr>
        <dsp:cNvPr id="0" name=""/>
        <dsp:cNvSpPr/>
      </dsp:nvSpPr>
      <dsp:spPr>
        <a:xfrm>
          <a:off x="31" y="607789"/>
          <a:ext cx="3061992" cy="116062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TW" altLang="en-US" sz="2000" kern="1200" dirty="0" smtClean="0"/>
            <a:t>自助旅行</a:t>
          </a:r>
          <a:endParaRPr lang="zh-TW" alt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TW" altLang="en-US" sz="2000" kern="1200" dirty="0" smtClean="0"/>
            <a:t>外語學習</a:t>
          </a:r>
          <a:endParaRPr lang="zh-TW" altLang="en-US" sz="2000" kern="1200" dirty="0"/>
        </a:p>
      </dsp:txBody>
      <dsp:txXfrm>
        <a:off x="31" y="607789"/>
        <a:ext cx="3061992" cy="1160620"/>
      </dsp:txXfrm>
    </dsp:sp>
    <dsp:sp modelId="{06EA4EDD-ED94-4F33-9662-2BE8C93837DD}">
      <dsp:nvSpPr>
        <dsp:cNvPr id="0" name=""/>
        <dsp:cNvSpPr/>
      </dsp:nvSpPr>
      <dsp:spPr>
        <a:xfrm>
          <a:off x="3490703" y="31789"/>
          <a:ext cx="3061992" cy="576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2000" kern="1200" dirty="0" smtClean="0"/>
            <a:t>專長</a:t>
          </a:r>
          <a:endParaRPr lang="zh-TW" altLang="en-US" sz="2000" kern="1200" dirty="0"/>
        </a:p>
      </dsp:txBody>
      <dsp:txXfrm>
        <a:off x="3490703" y="31789"/>
        <a:ext cx="3061992" cy="576000"/>
      </dsp:txXfrm>
    </dsp:sp>
    <dsp:sp modelId="{255DA7A4-1ABE-4074-A459-2C37A641F008}">
      <dsp:nvSpPr>
        <dsp:cNvPr id="0" name=""/>
        <dsp:cNvSpPr/>
      </dsp:nvSpPr>
      <dsp:spPr>
        <a:xfrm>
          <a:off x="3490703" y="607789"/>
          <a:ext cx="3061992" cy="116062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TW" altLang="en-US" sz="2000" kern="1200" dirty="0" smtClean="0"/>
            <a:t>樂器演奏</a:t>
          </a:r>
          <a:endParaRPr lang="zh-TW" alt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TW" altLang="en-US" sz="2000" kern="1200" dirty="0" smtClean="0"/>
            <a:t>語言能力</a:t>
          </a:r>
          <a:endParaRPr lang="zh-TW" altLang="en-US" sz="2000" kern="1200" dirty="0"/>
        </a:p>
      </dsp:txBody>
      <dsp:txXfrm>
        <a:off x="3490703" y="607789"/>
        <a:ext cx="3061992" cy="116062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B4AF8C-6AAF-4374-945D-60F4A2EC1358}">
      <dsp:nvSpPr>
        <dsp:cNvPr id="0" name=""/>
        <dsp:cNvSpPr/>
      </dsp:nvSpPr>
      <dsp:spPr>
        <a:xfrm>
          <a:off x="2004" y="867401"/>
          <a:ext cx="1783674" cy="713469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1600" kern="1200" dirty="0" smtClean="0"/>
            <a:t>健康國小</a:t>
          </a:r>
          <a:endParaRPr lang="zh-TW" altLang="en-US" sz="1600" kern="1200" dirty="0"/>
        </a:p>
      </dsp:txBody>
      <dsp:txXfrm>
        <a:off x="358739" y="867401"/>
        <a:ext cx="1070205" cy="713469"/>
      </dsp:txXfrm>
    </dsp:sp>
    <dsp:sp modelId="{C89D93E2-1F2C-4969-BA5B-0439DF715811}">
      <dsp:nvSpPr>
        <dsp:cNvPr id="0" name=""/>
        <dsp:cNvSpPr/>
      </dsp:nvSpPr>
      <dsp:spPr>
        <a:xfrm>
          <a:off x="1607311" y="867401"/>
          <a:ext cx="1783674" cy="713469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1600" kern="1200" dirty="0" smtClean="0"/>
            <a:t>介壽國中</a:t>
          </a:r>
          <a:endParaRPr lang="zh-TW" altLang="en-US" sz="1600" kern="1200" dirty="0"/>
        </a:p>
      </dsp:txBody>
      <dsp:txXfrm>
        <a:off x="1964046" y="867401"/>
        <a:ext cx="1070205" cy="713469"/>
      </dsp:txXfrm>
    </dsp:sp>
    <dsp:sp modelId="{66D60B58-6E8A-4E16-AE4D-20B8177680D4}">
      <dsp:nvSpPr>
        <dsp:cNvPr id="0" name=""/>
        <dsp:cNvSpPr/>
      </dsp:nvSpPr>
      <dsp:spPr>
        <a:xfrm>
          <a:off x="3207495" y="869962"/>
          <a:ext cx="1783674" cy="713469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1300" b="0" kern="1200" dirty="0" smtClean="0"/>
            <a:t>私</a:t>
          </a:r>
          <a:r>
            <a:rPr lang="zh-TW" altLang="en-US" sz="1300" kern="1200" dirty="0" smtClean="0"/>
            <a:t>立達人女中</a:t>
          </a:r>
          <a:endParaRPr lang="zh-TW" altLang="en-US" sz="1300" kern="1200" dirty="0"/>
        </a:p>
      </dsp:txBody>
      <dsp:txXfrm>
        <a:off x="3564230" y="869962"/>
        <a:ext cx="1070205" cy="713469"/>
      </dsp:txXfrm>
    </dsp:sp>
    <dsp:sp modelId="{3115E42D-0294-44B2-8F1A-43084249F832}">
      <dsp:nvSpPr>
        <dsp:cNvPr id="0" name=""/>
        <dsp:cNvSpPr/>
      </dsp:nvSpPr>
      <dsp:spPr>
        <a:xfrm>
          <a:off x="4812803" y="869962"/>
          <a:ext cx="1783674" cy="713469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1000" kern="1200" dirty="0" smtClean="0"/>
            <a:t>美國</a:t>
          </a:r>
          <a:r>
            <a:rPr lang="en-US" altLang="zh-TW" sz="1000" kern="1200" dirty="0" smtClean="0"/>
            <a:t>Tipton High School</a:t>
          </a:r>
          <a:endParaRPr lang="zh-TW" altLang="en-US" sz="1000" kern="1200" dirty="0"/>
        </a:p>
      </dsp:txBody>
      <dsp:txXfrm>
        <a:off x="5169538" y="869962"/>
        <a:ext cx="1070205" cy="713469"/>
      </dsp:txXfrm>
    </dsp:sp>
    <dsp:sp modelId="{18DB21F5-AD8C-4625-B147-1A0613EFB677}">
      <dsp:nvSpPr>
        <dsp:cNvPr id="0" name=""/>
        <dsp:cNvSpPr/>
      </dsp:nvSpPr>
      <dsp:spPr>
        <a:xfrm>
          <a:off x="6418110" y="869962"/>
          <a:ext cx="1783674" cy="713469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1300" b="0" kern="1200" dirty="0" smtClean="0"/>
            <a:t>私</a:t>
          </a:r>
          <a:r>
            <a:rPr lang="zh-TW" altLang="en-US" sz="1300" kern="1200" dirty="0" smtClean="0"/>
            <a:t>立銘傳大學</a:t>
          </a:r>
          <a:endParaRPr lang="zh-TW" altLang="en-US" sz="1300" kern="1200" dirty="0"/>
        </a:p>
      </dsp:txBody>
      <dsp:txXfrm>
        <a:off x="6774845" y="869962"/>
        <a:ext cx="1070205" cy="7134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 dirty="0"/>
          </a:p>
        </p:txBody>
      </p:sp>
      <p:sp>
        <p:nvSpPr>
          <p:cNvPr id="3" name="日期版面配置區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66C1DA-93DC-4430-AF8D-F7E69CF5673A}" type="datetimeFigureOut">
              <a:rPr lang="zh-TW" altLang="en-US" smtClean="0"/>
              <a:t>2021/10/20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BF2041-EA72-4FA6-AE74-EC488E4267AE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813725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411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411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r">
              <a:defRPr sz="1200"/>
            </a:lvl1pPr>
          </a:lstStyle>
          <a:p>
            <a:fld id="{9DA0625A-3FE2-48DA-B584-3367A6666071}" type="datetimeFigureOut">
              <a:rPr lang="zh-TW" altLang="en-US" smtClean="0"/>
              <a:t>2021/10/20</a:t>
            </a:fld>
            <a:endParaRPr lang="zh-TW" altLang="en-US"/>
          </a:p>
        </p:txBody>
      </p:sp>
      <p:sp>
        <p:nvSpPr>
          <p:cNvPr id="4" name="投影片圖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6" tIns="45713" rIns="91426" bIns="45713" rtlCol="0" anchor="ctr"/>
          <a:lstStyle/>
          <a:p>
            <a:endParaRPr lang="zh-TW" altLang="en-US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26" tIns="45713" rIns="91426" bIns="45713" rtlCol="0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3850445" y="9430092"/>
            <a:ext cx="2945659" cy="496411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r">
              <a:defRPr sz="1200"/>
            </a:lvl1pPr>
          </a:lstStyle>
          <a:p>
            <a:fld id="{57295ABE-A0F0-4F7B-8F03-85DDF3A96F23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71751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430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860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291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5725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2161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594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5027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1461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2.xml"/><Relationship Id="rId7" Type="http://schemas.openxmlformats.org/officeDocument/2006/relationships/image" Target="../media/image3.emf"/><Relationship Id="rId2" Type="http://schemas.openxmlformats.org/officeDocument/2006/relationships/tags" Target="../tags/tag71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4.xml"/><Relationship Id="rId9" Type="http://schemas.openxmlformats.org/officeDocument/2006/relationships/image" Target="../media/image5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9.bin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4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0.bin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7.xml"/><Relationship Id="rId7" Type="http://schemas.openxmlformats.org/officeDocument/2006/relationships/image" Target="../media/image3.emf"/><Relationship Id="rId2" Type="http://schemas.openxmlformats.org/officeDocument/2006/relationships/tags" Target="../tags/tag76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5.xml"/><Relationship Id="rId9" Type="http://schemas.openxmlformats.org/officeDocument/2006/relationships/image" Target="../media/image5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8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9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4.bin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2.xml"/><Relationship Id="rId7" Type="http://schemas.openxmlformats.org/officeDocument/2006/relationships/image" Target="../media/image3.emf"/><Relationship Id="rId2" Type="http://schemas.openxmlformats.org/officeDocument/2006/relationships/tags" Target="../tags/tag81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16.xml"/><Relationship Id="rId9" Type="http://schemas.openxmlformats.org/officeDocument/2006/relationships/image" Target="../media/image5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3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7.bin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4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8.bin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7.xml"/><Relationship Id="rId7" Type="http://schemas.openxmlformats.org/officeDocument/2006/relationships/image" Target="../media/image3.emf"/><Relationship Id="rId2" Type="http://schemas.openxmlformats.org/officeDocument/2006/relationships/tags" Target="../tags/tag86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17.xml"/><Relationship Id="rId9" Type="http://schemas.openxmlformats.org/officeDocument/2006/relationships/image" Target="../media/image5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8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1.bin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9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6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3.xml"/><Relationship Id="rId7" Type="http://schemas.openxmlformats.org/officeDocument/2006/relationships/image" Target="../media/image3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0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5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5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7.xml"/><Relationship Id="rId7" Type="http://schemas.openxmlformats.org/officeDocument/2006/relationships/image" Target="../media/image3.emf"/><Relationship Id="rId2" Type="http://schemas.openxmlformats.org/officeDocument/2006/relationships/tags" Target="../tags/tag3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5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2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2.xml"/><Relationship Id="rId7" Type="http://schemas.openxmlformats.org/officeDocument/2006/relationships/image" Target="../media/image3.emf"/><Relationship Id="rId2" Type="http://schemas.openxmlformats.org/officeDocument/2006/relationships/tags" Target="../tags/tag4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image" Target="../media/image3.emf"/><Relationship Id="rId2" Type="http://schemas.openxmlformats.org/officeDocument/2006/relationships/tags" Target="../tags/tag4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5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2.xml"/><Relationship Id="rId7" Type="http://schemas.openxmlformats.org/officeDocument/2006/relationships/image" Target="../media/image3.emf"/><Relationship Id="rId2" Type="http://schemas.openxmlformats.org/officeDocument/2006/relationships/tags" Target="../tags/tag51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9.xml"/><Relationship Id="rId9" Type="http://schemas.openxmlformats.org/officeDocument/2006/relationships/image" Target="../media/image5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7.xml"/><Relationship Id="rId7" Type="http://schemas.openxmlformats.org/officeDocument/2006/relationships/image" Target="../media/image3.emf"/><Relationship Id="rId2" Type="http://schemas.openxmlformats.org/officeDocument/2006/relationships/tags" Target="../tags/tag5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5.pn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59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2.xml"/><Relationship Id="rId7" Type="http://schemas.openxmlformats.org/officeDocument/2006/relationships/image" Target="../media/image3.emf"/><Relationship Id="rId2" Type="http://schemas.openxmlformats.org/officeDocument/2006/relationships/tags" Target="../tags/tag6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2.xml"/><Relationship Id="rId9" Type="http://schemas.openxmlformats.org/officeDocument/2006/relationships/image" Target="../media/image5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2.bin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7.xml"/><Relationship Id="rId7" Type="http://schemas.openxmlformats.org/officeDocument/2006/relationships/image" Target="../media/image3.emf"/><Relationship Id="rId2" Type="http://schemas.openxmlformats.org/officeDocument/2006/relationships/tags" Target="../tags/tag66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3.xml"/><Relationship Id="rId9" Type="http://schemas.openxmlformats.org/officeDocument/2006/relationships/image" Target="../media/image5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5.bin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1755708"/>
              </p:ext>
            </p:extLst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 smtClean="0"/>
              <a:t>按一下以編輯母片副標題樣式</a:t>
            </a:r>
            <a:endParaRPr lang="en-US" altLang="zh-TW" noProof="0" dirty="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 smtClean="0"/>
              <a:t>按一下以編輯母片標題樣式</a:t>
            </a:r>
            <a:endParaRPr lang="en-US" altLang="zh-TW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72299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302147"/>
              </p:ext>
            </p:extLst>
          </p:nvPr>
        </p:nvGraphicFramePr>
        <p:xfrm>
          <a:off x="1650" y="165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654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82" y="1990668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72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0402047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3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118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文件類型</a:t>
              </a:r>
              <a:endPara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日期</a:t>
              </a:r>
              <a:endPara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kumimoji="0" lang="en-US" altLang="zh-TW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 smtClean="0"/>
              <a:t>按一下以編輯母片副標題樣式</a:t>
            </a:r>
            <a:endParaRPr lang="en-US" altLang="zh-TW" noProof="0" dirty="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 smtClean="0"/>
              <a:t>按一下以編輯母片標題樣式</a:t>
            </a:r>
            <a:endParaRPr lang="en-US" altLang="zh-TW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65465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物件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DFA42A-C2E3-43B0-B9E8-C004CEAA189A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0006877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BDB6D9-26EF-48C5-A969-FFC6F5AE4DBD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61475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CED650D-3B6A-4CB1-B25D-0F38C10E7C85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614802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DBBDF5-E94D-4BE3-93E6-9864C9733258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2676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ABD007-652E-45DD-A49A-158DD1E771EE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6118304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59341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物件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54C28F-F186-4F04-8C4F-E89FEA3EAFC9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3402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118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文件類型</a:t>
              </a:r>
              <a:endPara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日期</a:t>
              </a:r>
              <a:endPara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kumimoji="0" lang="en-US" altLang="zh-TW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 smtClean="0"/>
              <a:t>按一下以編輯母片副標題樣式</a:t>
            </a:r>
            <a:endParaRPr lang="en-US" altLang="zh-TW" noProof="0" dirty="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 smtClean="0"/>
              <a:t>按一下以編輯母片標題樣式</a:t>
            </a:r>
            <a:endParaRPr lang="en-US" altLang="zh-TW" noProof="0" dirty="0" smtClean="0"/>
          </a:p>
        </p:txBody>
      </p:sp>
    </p:spTree>
    <p:extLst>
      <p:ext uri="{BB962C8B-B14F-4D97-AF65-F5344CB8AC3E}">
        <p14:creationId xmlns:p14="http://schemas.microsoft.com/office/powerpoint/2010/main" val="3478237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物件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DFA42A-C2E3-43B0-B9E8-C004CEAA189A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313901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79"/>
            <a:ext cx="2117131" cy="261610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25" y="1990679"/>
            <a:ext cx="2117132" cy="261610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72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341893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BDB6D9-26EF-48C5-A969-FFC6F5AE4DBD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63691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CED650D-3B6A-4CB1-B25D-0F38C10E7C85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571224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DBBDF5-E94D-4BE3-93E6-9864C9733258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3493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ABD007-652E-45DD-A49A-158DD1E771EE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9657412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344076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物件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54C28F-F186-4F04-8C4F-E89FEA3EAFC9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10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2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118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文件類型</a:t>
              </a:r>
              <a:endPara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日期</a:t>
              </a:r>
              <a:endPara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kumimoji="0" lang="en-US" altLang="zh-TW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 smtClean="0"/>
              <a:t>按一下以編輯母片副標題樣式</a:t>
            </a:r>
            <a:endParaRPr lang="en-US" altLang="zh-TW" noProof="0" dirty="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 smtClean="0"/>
              <a:t>按一下以編輯母片標題樣式</a:t>
            </a:r>
            <a:endParaRPr lang="en-US" altLang="zh-TW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19944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物件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DFA42A-C2E3-43B0-B9E8-C004CEAA189A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6517082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BDB6D9-26EF-48C5-A969-FFC6F5AE4DBD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5246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CED650D-3B6A-4CB1-B25D-0F38C10E7C85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5945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38" y="1915491"/>
            <a:ext cx="4039882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130" indent="0">
              <a:buNone/>
              <a:defRPr sz="2100" b="1"/>
            </a:lvl2pPr>
            <a:lvl3pPr marL="920342" indent="0">
              <a:buNone/>
              <a:defRPr sz="1900" b="1"/>
            </a:lvl3pPr>
            <a:lvl4pPr marL="1380509" indent="0">
              <a:buNone/>
              <a:defRPr sz="1600" b="1"/>
            </a:lvl4pPr>
            <a:lvl5pPr marL="1840681" indent="0">
              <a:buNone/>
              <a:defRPr sz="1600" b="1"/>
            </a:lvl5pPr>
            <a:lvl6pPr marL="2300855" indent="0">
              <a:buNone/>
              <a:defRPr sz="1600" b="1"/>
            </a:lvl6pPr>
            <a:lvl7pPr marL="2761021" indent="0">
              <a:buNone/>
              <a:defRPr sz="1600" b="1"/>
            </a:lvl7pPr>
            <a:lvl8pPr marL="3221193" indent="0">
              <a:buNone/>
              <a:defRPr sz="1600" b="1"/>
            </a:lvl8pPr>
            <a:lvl9pPr marL="3681365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38" y="2175319"/>
            <a:ext cx="4039882" cy="148392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25" y="1915491"/>
            <a:ext cx="4041502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130" indent="0">
              <a:buNone/>
              <a:defRPr sz="2100" b="1"/>
            </a:lvl2pPr>
            <a:lvl3pPr marL="920342" indent="0">
              <a:buNone/>
              <a:defRPr sz="1900" b="1"/>
            </a:lvl3pPr>
            <a:lvl4pPr marL="1380509" indent="0">
              <a:buNone/>
              <a:defRPr sz="1600" b="1"/>
            </a:lvl4pPr>
            <a:lvl5pPr marL="1840681" indent="0">
              <a:buNone/>
              <a:defRPr sz="1600" b="1"/>
            </a:lvl5pPr>
            <a:lvl6pPr marL="2300855" indent="0">
              <a:buNone/>
              <a:defRPr sz="1600" b="1"/>
            </a:lvl6pPr>
            <a:lvl7pPr marL="2761021" indent="0">
              <a:buNone/>
              <a:defRPr sz="1600" b="1"/>
            </a:lvl7pPr>
            <a:lvl8pPr marL="3221193" indent="0">
              <a:buNone/>
              <a:defRPr sz="1600" b="1"/>
            </a:lvl8pPr>
            <a:lvl9pPr marL="3681365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25" y="2175319"/>
            <a:ext cx="4041502" cy="148392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72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9975029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DBBDF5-E94D-4BE3-93E6-9864C9733258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3916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ABD007-652E-45DD-A49A-158DD1E771EE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3299486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815262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物件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54C28F-F186-4F04-8C4F-E89FEA3EAFC9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55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1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118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文件類型</a:t>
              </a:r>
              <a:endPara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日期</a:t>
              </a:r>
              <a:endPara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kumimoji="0" lang="en-US" altLang="zh-TW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 smtClean="0"/>
              <a:t>按一下以編輯母片副標題樣式</a:t>
            </a:r>
            <a:endParaRPr lang="en-US" altLang="zh-TW" noProof="0" dirty="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 smtClean="0"/>
              <a:t>按一下以編輯母片標題樣式</a:t>
            </a:r>
            <a:endParaRPr lang="en-US" altLang="zh-TW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97218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物件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DFA42A-C2E3-43B0-B9E8-C004CEAA189A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3205053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BDB6D9-26EF-48C5-A969-FFC6F5AE4DBD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32176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CED650D-3B6A-4CB1-B25D-0F38C10E7C85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9271648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DBBDF5-E94D-4BE3-93E6-9864C9733258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85384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ABD007-652E-45DD-A49A-158DD1E771EE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34673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物件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8303393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9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7060078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372246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物件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54C28F-F186-4F04-8C4F-E89FEA3EAFC9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2116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物件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9026609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72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604529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372" y="6597392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1656775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8899855"/>
              </p:ext>
            </p:extLst>
          </p:nvPr>
        </p:nvGraphicFramePr>
        <p:xfrm>
          <a:off x="1650" y="165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4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654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82" y="1990673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2"/>
            <a:ext cx="2133600" cy="365125"/>
          </a:xfrm>
          <a:prstGeom prst="rect">
            <a:avLst/>
          </a:prstGeom>
        </p:spPr>
        <p:txBody>
          <a:bodyPr lIns="90263" tIns="45142" rIns="90263" bIns="45142"/>
          <a:lstStyle/>
          <a:p>
            <a:pPr defTabSz="902696">
              <a:spcAft>
                <a:spcPct val="0"/>
              </a:spcAft>
            </a:pPr>
            <a:endParaRPr lang="zh-TW" altLang="en-US" sz="14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2"/>
            <a:ext cx="2895600" cy="365125"/>
          </a:xfrm>
          <a:prstGeom prst="rect">
            <a:avLst/>
          </a:prstGeom>
        </p:spPr>
        <p:txBody>
          <a:bodyPr lIns="90263" tIns="45142" rIns="90263" bIns="45142"/>
          <a:lstStyle/>
          <a:p>
            <a:pPr defTabSz="902696">
              <a:spcAft>
                <a:spcPct val="0"/>
              </a:spcAft>
            </a:pPr>
            <a:endParaRPr lang="zh-TW" altLang="en-US" sz="14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372" y="6597392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587129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386416"/>
              </p:ext>
            </p:extLst>
          </p:nvPr>
        </p:nvGraphicFramePr>
        <p:xfrm>
          <a:off x="112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1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2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7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021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800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021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9" y="349892"/>
            <a:ext cx="1025921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021" eaLnBrk="1" hangingPunct="1">
              <a:spcAft>
                <a:spcPct val="0"/>
              </a:spcAft>
              <a:buClrTx/>
              <a:defRPr/>
            </a:pPr>
            <a:r>
              <a:rPr lang="en-US" altLang="zh-TW" sz="90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20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021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021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021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021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648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2" y="3790248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4" y="3945699"/>
            <a:ext cx="5036084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 smtClean="0"/>
              <a:t>按一下以編輯母片副標題樣式</a:t>
            </a:r>
            <a:endParaRPr lang="en-US" altLang="zh-TW" noProof="0" dirty="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4" y="2177061"/>
            <a:ext cx="5036084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 smtClean="0"/>
              <a:t>按一下以編輯母片標題樣式</a:t>
            </a:r>
            <a:endParaRPr lang="en-US" altLang="zh-TW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134945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203941"/>
              </p:ext>
            </p:extLst>
          </p:nvPr>
        </p:nvGraphicFramePr>
        <p:xfrm>
          <a:off x="1650" y="165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65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82" y="1990668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9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122080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76"/>
            <a:ext cx="2117131" cy="261610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25" y="1990676"/>
            <a:ext cx="2117132" cy="261610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9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36645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4387177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60662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38" y="1915488"/>
            <a:ext cx="4039882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295" indent="0">
              <a:buNone/>
              <a:defRPr sz="2100" b="1"/>
            </a:lvl2pPr>
            <a:lvl3pPr marL="920672" indent="0">
              <a:buNone/>
              <a:defRPr sz="1900" b="1"/>
            </a:lvl3pPr>
            <a:lvl4pPr marL="1381005" indent="0">
              <a:buNone/>
              <a:defRPr sz="1600" b="1"/>
            </a:lvl4pPr>
            <a:lvl5pPr marL="1841344" indent="0">
              <a:buNone/>
              <a:defRPr sz="1600" b="1"/>
            </a:lvl5pPr>
            <a:lvl6pPr marL="2301683" indent="0">
              <a:buNone/>
              <a:defRPr sz="1600" b="1"/>
            </a:lvl6pPr>
            <a:lvl7pPr marL="2762016" indent="0">
              <a:buNone/>
              <a:defRPr sz="1600" b="1"/>
            </a:lvl7pPr>
            <a:lvl8pPr marL="3222353" indent="0">
              <a:buNone/>
              <a:defRPr sz="1600" b="1"/>
            </a:lvl8pPr>
            <a:lvl9pPr marL="3682691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38" y="2175319"/>
            <a:ext cx="4039882" cy="148392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25" y="1915488"/>
            <a:ext cx="4041502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295" indent="0">
              <a:buNone/>
              <a:defRPr sz="2100" b="1"/>
            </a:lvl2pPr>
            <a:lvl3pPr marL="920672" indent="0">
              <a:buNone/>
              <a:defRPr sz="1900" b="1"/>
            </a:lvl3pPr>
            <a:lvl4pPr marL="1381005" indent="0">
              <a:buNone/>
              <a:defRPr sz="1600" b="1"/>
            </a:lvl4pPr>
            <a:lvl5pPr marL="1841344" indent="0">
              <a:buNone/>
              <a:defRPr sz="1600" b="1"/>
            </a:lvl5pPr>
            <a:lvl6pPr marL="2301683" indent="0">
              <a:buNone/>
              <a:defRPr sz="1600" b="1"/>
            </a:lvl6pPr>
            <a:lvl7pPr marL="2762016" indent="0">
              <a:buNone/>
              <a:defRPr sz="1600" b="1"/>
            </a:lvl7pPr>
            <a:lvl8pPr marL="3222353" indent="0">
              <a:buNone/>
              <a:defRPr sz="1600" b="1"/>
            </a:lvl8pPr>
            <a:lvl9pPr marL="3682691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25" y="2175319"/>
            <a:ext cx="4041502" cy="148392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9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895436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物件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90545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925948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物件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6621481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9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02715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369" y="6597392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1246973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4335719"/>
              </p:ext>
            </p:extLst>
          </p:nvPr>
        </p:nvGraphicFramePr>
        <p:xfrm>
          <a:off x="1650" y="165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65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82" y="1990673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59"/>
            <a:ext cx="2133600" cy="365125"/>
          </a:xfrm>
          <a:prstGeom prst="rect">
            <a:avLst/>
          </a:prstGeom>
        </p:spPr>
        <p:txBody>
          <a:bodyPr lIns="90296" tIns="45157" rIns="90296" bIns="45157"/>
          <a:lstStyle/>
          <a:p>
            <a:pPr defTabSz="903021">
              <a:spcAft>
                <a:spcPct val="0"/>
              </a:spcAft>
            </a:pPr>
            <a:endParaRPr lang="zh-TW" altLang="en-US" sz="14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59"/>
            <a:ext cx="2895600" cy="365125"/>
          </a:xfrm>
          <a:prstGeom prst="rect">
            <a:avLst/>
          </a:prstGeom>
        </p:spPr>
        <p:txBody>
          <a:bodyPr lIns="90296" tIns="45157" rIns="90296" bIns="45157"/>
          <a:lstStyle/>
          <a:p>
            <a:pPr defTabSz="903021">
              <a:spcAft>
                <a:spcPct val="0"/>
              </a:spcAft>
            </a:pPr>
            <a:endParaRPr lang="zh-TW" altLang="en-US" sz="14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369" y="6597392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506477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7907043"/>
              </p:ext>
            </p:extLst>
          </p:nvPr>
        </p:nvGraphicFramePr>
        <p:xfrm>
          <a:off x="112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7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2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7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454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800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454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8" y="349892"/>
            <a:ext cx="1025921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454" eaLnBrk="1" hangingPunct="1">
              <a:spcAft>
                <a:spcPct val="0"/>
              </a:spcAft>
              <a:buClrTx/>
              <a:defRPr/>
            </a:pPr>
            <a:r>
              <a:rPr lang="en-US" altLang="zh-TW" sz="90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1" y="20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454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454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454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454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644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2" y="3790248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4" y="3945699"/>
            <a:ext cx="5036084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 smtClean="0"/>
              <a:t>按一下以編輯母片副標題樣式</a:t>
            </a:r>
            <a:endParaRPr lang="en-US" altLang="zh-TW" noProof="0" dirty="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4" y="2177057"/>
            <a:ext cx="5036084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 smtClean="0"/>
              <a:t>按一下以編輯母片標題樣式</a:t>
            </a:r>
            <a:endParaRPr lang="en-US" altLang="zh-TW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543391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2568110"/>
              </p:ext>
            </p:extLst>
          </p:nvPr>
        </p:nvGraphicFramePr>
        <p:xfrm>
          <a:off x="1647" y="164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7" y="1647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82" y="1990668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5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263173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72"/>
            <a:ext cx="2117131" cy="261610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25" y="1990672"/>
            <a:ext cx="2117132" cy="261610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5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907289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38" y="1915484"/>
            <a:ext cx="4039882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515" indent="0">
              <a:buNone/>
              <a:defRPr sz="2100" b="1"/>
            </a:lvl2pPr>
            <a:lvl3pPr marL="921112" indent="0">
              <a:buNone/>
              <a:defRPr sz="1900" b="1"/>
            </a:lvl3pPr>
            <a:lvl4pPr marL="1381669" indent="0">
              <a:buNone/>
              <a:defRPr sz="1600" b="1"/>
            </a:lvl4pPr>
            <a:lvl5pPr marL="1842228" indent="0">
              <a:buNone/>
              <a:defRPr sz="1600" b="1"/>
            </a:lvl5pPr>
            <a:lvl6pPr marL="2302788" indent="0">
              <a:buNone/>
              <a:defRPr sz="1600" b="1"/>
            </a:lvl6pPr>
            <a:lvl7pPr marL="2763343" indent="0">
              <a:buNone/>
              <a:defRPr sz="1600" b="1"/>
            </a:lvl7pPr>
            <a:lvl8pPr marL="3223901" indent="0">
              <a:buNone/>
              <a:defRPr sz="1600" b="1"/>
            </a:lvl8pPr>
            <a:lvl9pPr marL="3684459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38" y="2175319"/>
            <a:ext cx="4039882" cy="148392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25" y="1915484"/>
            <a:ext cx="4041502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515" indent="0">
              <a:buNone/>
              <a:defRPr sz="2100" b="1"/>
            </a:lvl2pPr>
            <a:lvl3pPr marL="921112" indent="0">
              <a:buNone/>
              <a:defRPr sz="1900" b="1"/>
            </a:lvl3pPr>
            <a:lvl4pPr marL="1381669" indent="0">
              <a:buNone/>
              <a:defRPr sz="1600" b="1"/>
            </a:lvl4pPr>
            <a:lvl5pPr marL="1842228" indent="0">
              <a:buNone/>
              <a:defRPr sz="1600" b="1"/>
            </a:lvl5pPr>
            <a:lvl6pPr marL="2302788" indent="0">
              <a:buNone/>
              <a:defRPr sz="1600" b="1"/>
            </a:lvl6pPr>
            <a:lvl7pPr marL="2763343" indent="0">
              <a:buNone/>
              <a:defRPr sz="1600" b="1"/>
            </a:lvl7pPr>
            <a:lvl8pPr marL="3223901" indent="0">
              <a:buNone/>
              <a:defRPr sz="1600" b="1"/>
            </a:lvl8pPr>
            <a:lvl9pPr marL="3684459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25" y="2175319"/>
            <a:ext cx="4041502" cy="148392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5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29939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物件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470115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0251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0640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物件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418796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5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589103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365" y="6597392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726388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197994"/>
              </p:ext>
            </p:extLst>
          </p:nvPr>
        </p:nvGraphicFramePr>
        <p:xfrm>
          <a:off x="1647" y="164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7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7" y="1647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82" y="1990673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55"/>
            <a:ext cx="2133600" cy="365125"/>
          </a:xfrm>
          <a:prstGeom prst="rect">
            <a:avLst/>
          </a:prstGeom>
        </p:spPr>
        <p:txBody>
          <a:bodyPr lIns="90340" tIns="45177" rIns="90340" bIns="45177"/>
          <a:lstStyle/>
          <a:p>
            <a:pPr defTabSz="903454">
              <a:spcAft>
                <a:spcPct val="0"/>
              </a:spcAft>
            </a:pPr>
            <a:endParaRPr lang="zh-TW" altLang="en-US" sz="14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55"/>
            <a:ext cx="2895600" cy="365125"/>
          </a:xfrm>
          <a:prstGeom prst="rect">
            <a:avLst/>
          </a:prstGeom>
        </p:spPr>
        <p:txBody>
          <a:bodyPr lIns="90340" tIns="45177" rIns="90340" bIns="45177"/>
          <a:lstStyle/>
          <a:p>
            <a:pPr defTabSz="903454">
              <a:spcAft>
                <a:spcPct val="0"/>
              </a:spcAft>
            </a:pPr>
            <a:endParaRPr lang="zh-TW" altLang="en-US" sz="14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365" y="6597392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29765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0909710"/>
              </p:ext>
            </p:extLst>
          </p:nvPr>
        </p:nvGraphicFramePr>
        <p:xfrm>
          <a:off x="10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4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7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995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800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995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2"/>
            <a:ext cx="1025921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995" eaLnBrk="1" hangingPunct="1">
              <a:spcAft>
                <a:spcPct val="0"/>
              </a:spcAft>
              <a:buClrTx/>
              <a:defRPr/>
            </a:pPr>
            <a:r>
              <a:rPr lang="en-US" altLang="zh-TW" sz="90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6" y="20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995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995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995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995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63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2" y="3790248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4" y="3945699"/>
            <a:ext cx="5036084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 smtClean="0"/>
              <a:t>按一下以編輯母片副標題樣式</a:t>
            </a:r>
            <a:endParaRPr lang="en-US" altLang="zh-TW" noProof="0" dirty="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4" y="2177052"/>
            <a:ext cx="5036084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 smtClean="0"/>
              <a:t>按一下以編輯母片標題樣式</a:t>
            </a:r>
            <a:endParaRPr lang="en-US" altLang="zh-TW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168696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264170"/>
              </p:ext>
            </p:extLst>
          </p:nvPr>
        </p:nvGraphicFramePr>
        <p:xfrm>
          <a:off x="1642" y="164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6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2" y="1642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82" y="1990668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0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984884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7" y="1990667"/>
            <a:ext cx="2117131" cy="261610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25" y="1990667"/>
            <a:ext cx="2117132" cy="261610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0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0956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37" y="1915479"/>
            <a:ext cx="4039882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790" indent="0">
              <a:buNone/>
              <a:defRPr sz="2100" b="1"/>
            </a:lvl2pPr>
            <a:lvl3pPr marL="921662" indent="0">
              <a:buNone/>
              <a:defRPr sz="1900" b="1"/>
            </a:lvl3pPr>
            <a:lvl4pPr marL="1382499" indent="0">
              <a:buNone/>
              <a:defRPr sz="1600" b="1"/>
            </a:lvl4pPr>
            <a:lvl5pPr marL="1843333" indent="0">
              <a:buNone/>
              <a:defRPr sz="1600" b="1"/>
            </a:lvl5pPr>
            <a:lvl6pPr marL="2304171" indent="0">
              <a:buNone/>
              <a:defRPr sz="1600" b="1"/>
            </a:lvl6pPr>
            <a:lvl7pPr marL="2765002" indent="0">
              <a:buNone/>
              <a:defRPr sz="1600" b="1"/>
            </a:lvl7pPr>
            <a:lvl8pPr marL="3225836" indent="0">
              <a:buNone/>
              <a:defRPr sz="1600" b="1"/>
            </a:lvl8pPr>
            <a:lvl9pPr marL="3686671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37" y="2175318"/>
            <a:ext cx="4039882" cy="148392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25" y="1915479"/>
            <a:ext cx="4041502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790" indent="0">
              <a:buNone/>
              <a:defRPr sz="2100" b="1"/>
            </a:lvl2pPr>
            <a:lvl3pPr marL="921662" indent="0">
              <a:buNone/>
              <a:defRPr sz="1900" b="1"/>
            </a:lvl3pPr>
            <a:lvl4pPr marL="1382499" indent="0">
              <a:buNone/>
              <a:defRPr sz="1600" b="1"/>
            </a:lvl4pPr>
            <a:lvl5pPr marL="1843333" indent="0">
              <a:buNone/>
              <a:defRPr sz="1600" b="1"/>
            </a:lvl5pPr>
            <a:lvl6pPr marL="2304171" indent="0">
              <a:buNone/>
              <a:defRPr sz="1600" b="1"/>
            </a:lvl6pPr>
            <a:lvl7pPr marL="2765002" indent="0">
              <a:buNone/>
              <a:defRPr sz="1600" b="1"/>
            </a:lvl7pPr>
            <a:lvl8pPr marL="3225836" indent="0">
              <a:buNone/>
              <a:defRPr sz="1600" b="1"/>
            </a:lvl8pPr>
            <a:lvl9pPr marL="3686671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25" y="2175318"/>
            <a:ext cx="4041502" cy="148392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0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42958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物件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4987766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795673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物件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195198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0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520762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360" y="6597392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0782171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887095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0516642"/>
              </p:ext>
            </p:extLst>
          </p:nvPr>
        </p:nvGraphicFramePr>
        <p:xfrm>
          <a:off x="1642" y="164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2" y="1642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82" y="1990673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0395" tIns="45202" rIns="90395" bIns="45202"/>
          <a:lstStyle/>
          <a:p>
            <a:pPr defTabSz="903995">
              <a:spcAft>
                <a:spcPct val="0"/>
              </a:spcAft>
            </a:pPr>
            <a:endParaRPr lang="zh-TW" altLang="en-US" sz="14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lIns="90395" tIns="45202" rIns="90395" bIns="45202"/>
          <a:lstStyle/>
          <a:p>
            <a:pPr defTabSz="903995">
              <a:spcAft>
                <a:spcPct val="0"/>
              </a:spcAft>
            </a:pPr>
            <a:endParaRPr lang="zh-TW" altLang="en-US" sz="14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360" y="6597392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134295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865232"/>
              </p:ext>
            </p:extLst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3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 smtClean="0"/>
              <a:t>按一下以編輯母片副標題樣式</a:t>
            </a:r>
            <a:endParaRPr lang="en-US" altLang="zh-TW" noProof="0" dirty="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 smtClean="0"/>
              <a:t>按一下以編輯母片標題樣式</a:t>
            </a:r>
            <a:endParaRPr lang="en-US" altLang="zh-TW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79162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7297172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0324436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1537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68224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4865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055259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91747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0750603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367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723806"/>
              </p:ext>
            </p:extLst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 smtClean="0"/>
              <a:t>按一下以編輯母片副標題樣式</a:t>
            </a:r>
            <a:endParaRPr lang="en-US" altLang="zh-TW" noProof="0" dirty="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 smtClean="0"/>
              <a:t>按一下以編輯母片標題樣式</a:t>
            </a:r>
            <a:endParaRPr lang="en-US" altLang="zh-TW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23919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5047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13789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606360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18314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6586468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01778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35370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860521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4748991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24689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323838"/>
              </p:ext>
            </p:extLst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1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 smtClean="0"/>
              <a:t>按一下以編輯母片副標題樣式</a:t>
            </a:r>
            <a:endParaRPr lang="en-US" altLang="zh-TW" noProof="0" dirty="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 smtClean="0"/>
              <a:t>按一下以編輯母片標題樣式</a:t>
            </a:r>
            <a:endParaRPr lang="en-US" altLang="zh-TW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6298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064099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6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995076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49175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5311161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4532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03984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34028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3476929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83313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89749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9174786"/>
              </p:ext>
            </p:extLst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7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 smtClean="0"/>
              <a:t>按一下以編輯母片副標題樣式</a:t>
            </a:r>
            <a:endParaRPr lang="en-US" altLang="zh-TW" noProof="0" dirty="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 smtClean="0"/>
              <a:t>按一下以編輯母片標題樣式</a:t>
            </a:r>
            <a:endParaRPr lang="en-US" altLang="zh-TW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09777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9177534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58786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363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30077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07949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3334692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8450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525836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181773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57769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3673459"/>
              </p:ext>
            </p:extLst>
          </p:nvPr>
        </p:nvGraphicFramePr>
        <p:xfrm>
          <a:off x="92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7" y="508626"/>
            <a:ext cx="2937644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717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69"/>
            <a:ext cx="2610512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717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1" y="349891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717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altLang="zh-TW" sz="90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6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5717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5717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5717" eaLnBrk="1" fontAlgn="base" hangingPunct="1">
                <a:spcBef>
                  <a:spcPct val="0"/>
                </a:spcBef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5717" eaLnBrk="1" fontAlgn="base" hangingPunct="1">
                <a:spcBef>
                  <a:spcPct val="0"/>
                </a:spcBef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643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6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3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altLang="zh-TW" noProof="0" dirty="0" smtClean="0"/>
              <a:t>Click to edit Master subtitle styl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3" y="2177037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altLang="zh-TW" noProof="0" dirty="0" smtClean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2563286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1" y="1990668"/>
            <a:ext cx="4389768" cy="1256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46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6618403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7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4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46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5668598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535519"/>
            <a:ext cx="4039882" cy="75366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1664" indent="0">
              <a:buNone/>
              <a:defRPr sz="2000" b="1"/>
            </a:lvl2pPr>
            <a:lvl3pPr marL="923411" indent="0">
              <a:buNone/>
              <a:defRPr sz="1800" b="1"/>
            </a:lvl3pPr>
            <a:lvl4pPr marL="1385127" indent="0">
              <a:buNone/>
              <a:defRPr sz="1600" b="1"/>
            </a:lvl4pPr>
            <a:lvl5pPr marL="1846834" indent="0">
              <a:buNone/>
              <a:defRPr sz="1600" b="1"/>
            </a:lvl5pPr>
            <a:lvl6pPr marL="2308545" indent="0">
              <a:buNone/>
              <a:defRPr sz="1600" b="1"/>
            </a:lvl6pPr>
            <a:lvl7pPr marL="2770253" indent="0">
              <a:buNone/>
              <a:defRPr sz="1600" b="1"/>
            </a:lvl7pPr>
            <a:lvl8pPr marL="3231962" indent="0">
              <a:buNone/>
              <a:defRPr sz="1600" b="1"/>
            </a:lvl8pPr>
            <a:lvl9pPr marL="369367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4" y="1535519"/>
            <a:ext cx="4041502" cy="75366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1664" indent="0">
              <a:buNone/>
              <a:defRPr sz="2000" b="1"/>
            </a:lvl2pPr>
            <a:lvl3pPr marL="923411" indent="0">
              <a:buNone/>
              <a:defRPr sz="1800" b="1"/>
            </a:lvl3pPr>
            <a:lvl4pPr marL="1385127" indent="0">
              <a:buNone/>
              <a:defRPr sz="1600" b="1"/>
            </a:lvl4pPr>
            <a:lvl5pPr marL="1846834" indent="0">
              <a:buNone/>
              <a:defRPr sz="1600" b="1"/>
            </a:lvl5pPr>
            <a:lvl6pPr marL="2308545" indent="0">
              <a:buNone/>
              <a:defRPr sz="1600" b="1"/>
            </a:lvl6pPr>
            <a:lvl7pPr marL="2770253" indent="0">
              <a:buNone/>
              <a:defRPr sz="1600" b="1"/>
            </a:lvl7pPr>
            <a:lvl8pPr marL="3231962" indent="0">
              <a:buNone/>
              <a:defRPr sz="1600" b="1"/>
            </a:lvl8pPr>
            <a:lvl9pPr marL="369367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4" y="2175318"/>
            <a:ext cx="404150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46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70484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90466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46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23788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4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2869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1518825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67826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國泰醫院-直式海報-總院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50" y="5961063"/>
            <a:ext cx="9144000" cy="93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12" name="Shape 1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 lvl="0"/>
            <a:endParaRPr/>
          </a:p>
        </p:txBody>
      </p:sp>
      <p:sp>
        <p:nvSpPr>
          <p:cNvPr id="13" name="Shape 1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 lvl="0"/>
            <a:endParaRPr dirty="0"/>
          </a:p>
        </p:txBody>
      </p:sp>
      <p:sp>
        <p:nvSpPr>
          <p:cNvPr id="5" name="Shape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842ECDF3-DAEC-4007-A65A-4723CD53D6CF}" type="slidenum">
              <a:rPr lang="zh-TW" altLang="zh-TW" smtClean="0">
                <a:sym typeface="Helvetica" panose="020B0604020202020204" pitchFamily="34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TW" altLang="zh-TW" dirty="0">
              <a:sym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281925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線接點 4"/>
          <p:cNvCxnSpPr/>
          <p:nvPr userDrawn="1"/>
        </p:nvCxnSpPr>
        <p:spPr>
          <a:xfrm>
            <a:off x="457200" y="692696"/>
            <a:ext cx="8229600" cy="0"/>
          </a:xfrm>
          <a:prstGeom prst="line">
            <a:avLst/>
          </a:prstGeom>
          <a:noFill/>
          <a:ln w="31750" cap="flat">
            <a:solidFill>
              <a:srgbClr val="00B050"/>
            </a:solidFill>
            <a:prstDash val="solid"/>
            <a:bevel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470790" y="130622"/>
            <a:ext cx="8229600" cy="562074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 lvl="0"/>
            <a:endParaRPr dirty="0"/>
          </a:p>
        </p:txBody>
      </p:sp>
      <p:sp>
        <p:nvSpPr>
          <p:cNvPr id="19" name="Shape 19"/>
          <p:cNvSpPr>
            <a:spLocks noGrp="1"/>
          </p:cNvSpPr>
          <p:nvPr>
            <p:ph type="body" idx="1"/>
          </p:nvPr>
        </p:nvSpPr>
        <p:spPr>
          <a:xfrm>
            <a:off x="457200" y="1112045"/>
            <a:ext cx="8229600" cy="5257800"/>
          </a:xfrm>
          <a:prstGeom prst="rect">
            <a:avLst/>
          </a:prstGeom>
        </p:spPr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 lvl="0"/>
            <a:endParaRPr dirty="0"/>
          </a:p>
        </p:txBody>
      </p:sp>
      <p:sp>
        <p:nvSpPr>
          <p:cNvPr id="8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671415" y="6580382"/>
            <a:ext cx="438779" cy="246217"/>
          </a:xfrm>
        </p:spPr>
        <p:txBody>
          <a:bodyPr/>
          <a:lstStyle>
            <a:lvl1pPr>
              <a:defRPr sz="1000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smtClean="0"/>
              <a:t> </a:t>
            </a:r>
            <a:endParaRPr lang="en-US" altLang="zh-TW" dirty="0"/>
          </a:p>
        </p:txBody>
      </p:sp>
      <p:pic>
        <p:nvPicPr>
          <p:cNvPr id="6" name="國泰醫院-直式海報-總院.jpg"/>
          <p:cNvPicPr/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0" y="5918150"/>
            <a:ext cx="9144000" cy="93985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4644251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671415" y="6580382"/>
            <a:ext cx="438779" cy="246217"/>
          </a:xfrm>
        </p:spPr>
        <p:txBody>
          <a:bodyPr/>
          <a:lstStyle>
            <a:lvl1pPr>
              <a:defRPr sz="1000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9269516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122238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813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 smtClean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/>
        </p:nvSpPr>
        <p:spPr bwMode="auto">
          <a:xfrm>
            <a:off x="122238" y="542925"/>
            <a:ext cx="3729037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zh-TW" sz="1400" dirty="0">
                <a:solidFill>
                  <a:srgbClr val="808080"/>
                </a:solidFill>
                <a:ea typeface="DFKai-SB"/>
              </a:rPr>
              <a:t>Unit of measure</a:t>
            </a:r>
          </a:p>
        </p:txBody>
      </p:sp>
      <p:grpSp>
        <p:nvGrpSpPr>
          <p:cNvPr id="6" name="McK Slide Elements"/>
          <p:cNvGrpSpPr>
            <a:grpSpLocks/>
          </p:cNvGrpSpPr>
          <p:nvPr/>
        </p:nvGrpSpPr>
        <p:grpSpPr bwMode="auto">
          <a:xfrm>
            <a:off x="122238" y="6202363"/>
            <a:ext cx="8721725" cy="520700"/>
            <a:chOff x="75" y="3829"/>
            <a:chExt cx="5385" cy="322"/>
          </a:xfrm>
        </p:grpSpPr>
        <p:sp>
          <p:nvSpPr>
            <p:cNvPr id="7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zh-TW" sz="1000" dirty="0">
                  <a:solidFill>
                    <a:srgbClr val="000000"/>
                  </a:solidFill>
                  <a:ea typeface="DFKai-SB"/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  <a:ea typeface="DFKai-SB"/>
                </a:rPr>
                <a:t>註釋</a:t>
              </a:r>
              <a:endParaRPr lang="en-US" altLang="zh-TW" sz="1000" dirty="0">
                <a:solidFill>
                  <a:srgbClr val="000000"/>
                </a:solidFill>
                <a:ea typeface="DFKai-SB"/>
              </a:endParaRPr>
            </a:p>
          </p:txBody>
        </p:sp>
        <p:sp>
          <p:nvSpPr>
            <p:cNvPr id="8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482725" y="1146175"/>
            <a:ext cx="4349750" cy="522288"/>
            <a:chOff x="915" y="708"/>
            <a:chExt cx="2686" cy="322"/>
          </a:xfrm>
        </p:grpSpPr>
        <p:cxnSp>
          <p:nvCxnSpPr>
            <p:cNvPr id="10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5813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905813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 smtClean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2" name="Working Draft" hidden="1"/>
          <p:cNvSpPr txBox="1">
            <a:spLocks noChangeArrowheads="1"/>
          </p:cNvSpPr>
          <p:nvPr/>
        </p:nvSpPr>
        <p:spPr bwMode="auto">
          <a:xfrm rot="5400000">
            <a:off x="8093075" y="2774951"/>
            <a:ext cx="1958975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813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3" name="Printed" hidden="1"/>
          <p:cNvSpPr txBox="1">
            <a:spLocks noChangeArrowheads="1"/>
          </p:cNvSpPr>
          <p:nvPr/>
        </p:nvSpPr>
        <p:spPr bwMode="auto">
          <a:xfrm rot="5400000">
            <a:off x="8201819" y="3929857"/>
            <a:ext cx="1741487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813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4" name="doc id"/>
          <p:cNvSpPr>
            <a:spLocks noChangeArrowheads="1"/>
          </p:cNvSpPr>
          <p:nvPr/>
        </p:nvSpPr>
        <p:spPr bwMode="auto">
          <a:xfrm>
            <a:off x="8247063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graphicFrame>
        <p:nvGraphicFramePr>
          <p:cNvPr id="15" name="物件 1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2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5" name="物件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0"/>
            <a:ext cx="8793162" cy="338554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6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E83640-ADD6-4009-88CB-CBD1AF6CFB04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2578872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118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文件類型</a:t>
              </a:r>
              <a:endPara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日期</a:t>
              </a:r>
              <a:endPara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kumimoji="0" lang="en-US" altLang="zh-TW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 smtClean="0"/>
              <a:t>按一下以編輯母片副標題樣式</a:t>
            </a:r>
            <a:endParaRPr lang="en-US" altLang="zh-TW" noProof="0" dirty="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 smtClean="0"/>
              <a:t>按一下以編輯母片標題樣式</a:t>
            </a:r>
            <a:endParaRPr lang="en-US" altLang="zh-TW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1194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物件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6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167977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BDB6D9-26EF-48C5-A969-FFC6F5AE4DBD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03479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ED650D-3B6A-4CB1-B25D-0F38C10E7C85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6648843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DBBDF5-E94D-4BE3-93E6-9864C9733258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05416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ABD007-652E-45DD-A49A-158DD1E771EE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929079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1502369"/>
              </p:ext>
            </p:extLst>
          </p:nvPr>
        </p:nvGraphicFramePr>
        <p:xfrm>
          <a:off x="112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2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7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2696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800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2696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9" y="349892"/>
            <a:ext cx="1025921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2696" eaLnBrk="1" hangingPunct="1">
              <a:spcAft>
                <a:spcPct val="0"/>
              </a:spcAft>
              <a:buClrTx/>
              <a:defRPr/>
            </a:pPr>
            <a:r>
              <a:rPr lang="en-US" altLang="zh-TW" sz="90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20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2696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2696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2696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2696" eaLnBrk="1" hangingPunct="1">
                <a:buClr>
                  <a:srgbClr val="000000"/>
                </a:buClr>
                <a:defRPr/>
              </a:pPr>
              <a:endParaRPr lang="en-AU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651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2" y="3790248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4" y="3945699"/>
            <a:ext cx="5036084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 smtClean="0"/>
              <a:t>按一下以編輯母片副標題樣式</a:t>
            </a:r>
            <a:endParaRPr lang="en-US" altLang="zh-TW" noProof="0" dirty="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4" y="2177064"/>
            <a:ext cx="5036084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 smtClean="0"/>
              <a:t>按一下以編輯母片標題樣式</a:t>
            </a:r>
            <a:endParaRPr lang="en-US" altLang="zh-TW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127043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70899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物件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54C28F-F186-4F04-8C4F-E89FEA3EAFC9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5990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118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文件類型</a:t>
              </a:r>
              <a:endPara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日期</a:t>
              </a:r>
              <a:endPara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kumimoji="0" lang="en-US" altLang="zh-TW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 smtClean="0"/>
              <a:t>按一下以編輯母片副標題樣式</a:t>
            </a:r>
            <a:endParaRPr lang="en-US" altLang="zh-TW" noProof="0" dirty="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 smtClean="0"/>
              <a:t>按一下以編輯母片標題樣式</a:t>
            </a:r>
            <a:endParaRPr lang="en-US" altLang="zh-TW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34071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物件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6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739686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BDB6D9-26EF-48C5-A969-FFC6F5AE4DBD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7159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ED650D-3B6A-4CB1-B25D-0F38C10E7C85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603294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DBBDF5-E94D-4BE3-93E6-9864C9733258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80621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ABD007-652E-45DD-A49A-158DD1E771EE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9200384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206200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5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物件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54C28F-F186-4F04-8C4F-E89FEA3EAFC9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9521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oleObject" Target="../embeddings/oleObject45.bin"/><Relationship Id="rId5" Type="http://schemas.openxmlformats.org/officeDocument/2006/relationships/slideLayout" Target="../slideLayouts/slideLayout77.xml"/><Relationship Id="rId10" Type="http://schemas.openxmlformats.org/officeDocument/2006/relationships/tags" Target="../tags/tag55.xml"/><Relationship Id="rId4" Type="http://schemas.openxmlformats.org/officeDocument/2006/relationships/slideLayout" Target="../slideLayouts/slideLayout76.xml"/><Relationship Id="rId9" Type="http://schemas.openxmlformats.org/officeDocument/2006/relationships/vmlDrawing" Target="../drawings/vmlDrawing45.v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8.jpeg"/><Relationship Id="rId5" Type="http://schemas.openxmlformats.org/officeDocument/2006/relationships/theme" Target="../theme/theme11.xml"/><Relationship Id="rId4" Type="http://schemas.openxmlformats.org/officeDocument/2006/relationships/slideLayout" Target="../slideLayouts/slideLayout8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oleObject" Target="../embeddings/oleObject49.bin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tags" Target="../tags/tag60.xml"/><Relationship Id="rId5" Type="http://schemas.openxmlformats.org/officeDocument/2006/relationships/slideLayout" Target="../slideLayouts/slideLayout88.xml"/><Relationship Id="rId10" Type="http://schemas.openxmlformats.org/officeDocument/2006/relationships/vmlDrawing" Target="../drawings/vmlDrawing48.vml"/><Relationship Id="rId4" Type="http://schemas.openxmlformats.org/officeDocument/2006/relationships/slideLayout" Target="../slideLayouts/slideLayout87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oleObject" Target="../embeddings/oleObject53.bin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tags" Target="../tags/tag65.xml"/><Relationship Id="rId5" Type="http://schemas.openxmlformats.org/officeDocument/2006/relationships/slideLayout" Target="../slideLayouts/slideLayout96.xml"/><Relationship Id="rId10" Type="http://schemas.openxmlformats.org/officeDocument/2006/relationships/vmlDrawing" Target="../drawings/vmlDrawing52.vml"/><Relationship Id="rId4" Type="http://schemas.openxmlformats.org/officeDocument/2006/relationships/slideLayout" Target="../slideLayouts/slideLayout95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oleObject" Target="../embeddings/oleObject57.bin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tags" Target="../tags/tag70.xml"/><Relationship Id="rId5" Type="http://schemas.openxmlformats.org/officeDocument/2006/relationships/slideLayout" Target="../slideLayouts/slideLayout104.xml"/><Relationship Id="rId10" Type="http://schemas.openxmlformats.org/officeDocument/2006/relationships/vmlDrawing" Target="../drawings/vmlDrawing56.vml"/><Relationship Id="rId4" Type="http://schemas.openxmlformats.org/officeDocument/2006/relationships/slideLayout" Target="../slideLayouts/slideLayout103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tags" Target="../tags/tag75.xml"/><Relationship Id="rId5" Type="http://schemas.openxmlformats.org/officeDocument/2006/relationships/slideLayout" Target="../slideLayouts/slideLayout112.xml"/><Relationship Id="rId10" Type="http://schemas.openxmlformats.org/officeDocument/2006/relationships/vmlDrawing" Target="../drawings/vmlDrawing60.vml"/><Relationship Id="rId4" Type="http://schemas.openxmlformats.org/officeDocument/2006/relationships/slideLayout" Target="../slideLayouts/slideLayout111.xml"/><Relationship Id="rId9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oleObject" Target="../embeddings/oleObject65.bin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tags" Target="../tags/tag80.xml"/><Relationship Id="rId5" Type="http://schemas.openxmlformats.org/officeDocument/2006/relationships/slideLayout" Target="../slideLayouts/slideLayout120.xml"/><Relationship Id="rId10" Type="http://schemas.openxmlformats.org/officeDocument/2006/relationships/vmlDrawing" Target="../drawings/vmlDrawing64.vml"/><Relationship Id="rId4" Type="http://schemas.openxmlformats.org/officeDocument/2006/relationships/slideLayout" Target="../slideLayouts/slideLayout119.xml"/><Relationship Id="rId9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oleObject" Target="../embeddings/oleObject69.bin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tags" Target="../tags/tag85.xml"/><Relationship Id="rId5" Type="http://schemas.openxmlformats.org/officeDocument/2006/relationships/slideLayout" Target="../slideLayouts/slideLayout128.xml"/><Relationship Id="rId10" Type="http://schemas.openxmlformats.org/officeDocument/2006/relationships/vmlDrawing" Target="../drawings/vmlDrawing68.vml"/><Relationship Id="rId4" Type="http://schemas.openxmlformats.org/officeDocument/2006/relationships/slideLayout" Target="../slideLayouts/slideLayout127.xml"/><Relationship Id="rId9" Type="http://schemas.openxmlformats.org/officeDocument/2006/relationships/theme" Target="../theme/theme1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13.xml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14.xml"/><Relationship Id="rId5" Type="http://schemas.openxmlformats.org/officeDocument/2006/relationships/slideLayout" Target="../slideLayouts/slideLayout21.xml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17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29.xml"/><Relationship Id="rId10" Type="http://schemas.openxmlformats.org/officeDocument/2006/relationships/vmlDrawing" Target="../drawings/vmlDrawing17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23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28.xml"/><Relationship Id="rId5" Type="http://schemas.openxmlformats.org/officeDocument/2006/relationships/slideLayout" Target="../slideLayouts/slideLayout37.xml"/><Relationship Id="rId10" Type="http://schemas.openxmlformats.org/officeDocument/2006/relationships/vmlDrawing" Target="../drawings/vmlDrawing23.v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29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35.xml"/><Relationship Id="rId5" Type="http://schemas.openxmlformats.org/officeDocument/2006/relationships/slideLayout" Target="../slideLayouts/slideLayout45.xml"/><Relationship Id="rId10" Type="http://schemas.openxmlformats.org/officeDocument/2006/relationships/vmlDrawing" Target="../drawings/vmlDrawing29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oleObject" Target="../embeddings/oleObject33.bin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ags" Target="../tags/tag40.xml"/><Relationship Id="rId5" Type="http://schemas.openxmlformats.org/officeDocument/2006/relationships/slideLayout" Target="../slideLayouts/slideLayout53.xml"/><Relationship Id="rId10" Type="http://schemas.openxmlformats.org/officeDocument/2006/relationships/vmlDrawing" Target="../drawings/vmlDrawing33.v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oleObject" Target="../embeddings/oleObject37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ags" Target="../tags/tag45.xml"/><Relationship Id="rId5" Type="http://schemas.openxmlformats.org/officeDocument/2006/relationships/slideLayout" Target="../slideLayouts/slideLayout61.xml"/><Relationship Id="rId10" Type="http://schemas.openxmlformats.org/officeDocument/2006/relationships/vmlDrawing" Target="../drawings/vmlDrawing37.v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oleObject" Target="../embeddings/oleObject41.bin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ags" Target="../tags/tag50.xml"/><Relationship Id="rId5" Type="http://schemas.openxmlformats.org/officeDocument/2006/relationships/slideLayout" Target="../slideLayouts/slideLayout69.xml"/><Relationship Id="rId10" Type="http://schemas.openxmlformats.org/officeDocument/2006/relationships/vmlDrawing" Target="../drawings/vmlDrawing41.v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60632901"/>
              </p:ext>
            </p:extLst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3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 smtClean="0"/>
              <a:t>按一下以編輯母片標題樣式</a:t>
            </a:r>
            <a:endParaRPr lang="en-US" altLang="zh-TW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 smtClean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 smtClean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41307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1097765"/>
              </p:ext>
            </p:extLst>
          </p:nvPr>
        </p:nvGraphicFramePr>
        <p:xfrm>
          <a:off x="1718" y="171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03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8" y="171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587" y="234890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1" y="1990687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717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altLang="zh-TW" sz="1400" b="0" dirty="0" smtClean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01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zh-TW" altLang="en-US" sz="10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46778"/>
            <a:ext cx="4350890" cy="521557"/>
            <a:chOff x="915" y="708"/>
            <a:chExt cx="2686" cy="322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5717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en-US" altLang="zh-TW" sz="1600" dirty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905717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en-US" altLang="zh-TW" sz="1600" b="0" dirty="0" smtClean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88937" y="2775310"/>
            <a:ext cx="1967582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717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98616" y="3930178"/>
            <a:ext cx="1748417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717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70472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02769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2769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902769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902769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902769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61664" algn="l" defTabSz="90418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23411" algn="l" defTabSz="90418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85127" algn="l" defTabSz="90418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46834" algn="l" defTabSz="90418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6355" indent="-346355" algn="l" defTabSz="902769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4026" indent="-192421" algn="l" defTabSz="902769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60175" indent="-262976" algn="l" defTabSz="902769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8948" indent="-155531" algn="l" defTabSz="902769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52042" indent="-129884" algn="l" defTabSz="902769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15196" indent="-131460" algn="l" defTabSz="90418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76902" indent="-131460" algn="l" defTabSz="90418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38614" indent="-131460" algn="l" defTabSz="90418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600324" indent="-131460" algn="l" defTabSz="90418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1664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3411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5127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6834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8545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70253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31962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93672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PT_封底-總院.jpe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1027" name="Shape 3"/>
          <p:cNvSpPr>
            <a:spLocks noGrp="1"/>
          </p:cNvSpPr>
          <p:nvPr>
            <p:ph type="sldNum" sz="quarter" idx="2"/>
          </p:nvPr>
        </p:nvSpPr>
        <p:spPr bwMode="auto">
          <a:xfrm>
            <a:off x="6553200" y="6245225"/>
            <a:ext cx="21336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45718" tIns="45718" rIns="45718" bIns="45718" numCol="1" anchor="t" anchorCtr="0" compatLnSpc="1">
            <a:prstTxWarp prst="textNoShape">
              <a:avLst/>
            </a:prstTxWarp>
            <a:spAutoFit/>
          </a:bodyPr>
          <a:lstStyle>
            <a:lvl1pPr algn="r" eaLnBrk="1" hangingPunct="1">
              <a:defRPr kumimoji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86780AEF-FB15-418D-B505-4403DE2B3B76}" type="slidenum">
              <a:rPr lang="zh-TW" altLang="zh-TW" smtClean="0">
                <a:sym typeface="Helvetica" panose="020B0604020202020204" pitchFamily="34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TW" altLang="zh-TW">
              <a:sym typeface="Helvetica" panose="020B0604020202020204" pitchFamily="34" charset="0"/>
            </a:endParaRPr>
          </a:p>
        </p:txBody>
      </p:sp>
      <p:sp>
        <p:nvSpPr>
          <p:cNvPr id="1028" name="Shape 4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32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45718" tIns="45718" rIns="45718" bIns="45718" numCol="1" anchor="t" anchorCtr="0" compatLnSpc="1">
            <a:prstTxWarp prst="textNoShape">
              <a:avLst/>
            </a:prstTxWarp>
          </a:bodyPr>
          <a:lstStyle/>
          <a:p>
            <a:pPr lvl="0"/>
            <a:endParaRPr lang="zh-TW" altLang="zh-TW" smtClean="0">
              <a:sym typeface="Helvetica" panose="020B0604020202020204" pitchFamily="34" charset="0"/>
            </a:endParaRPr>
          </a:p>
        </p:txBody>
      </p:sp>
      <p:sp>
        <p:nvSpPr>
          <p:cNvPr id="1029" name="Shape 5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45718" tIns="45718" rIns="45718" bIns="45718" numCol="1" anchor="t" anchorCtr="0" compatLnSpc="1">
            <a:prstTxWarp prst="textNoShape">
              <a:avLst/>
            </a:prstTxWarp>
          </a:bodyPr>
          <a:lstStyle/>
          <a:p>
            <a:pPr lvl="0"/>
            <a:endParaRPr lang="zh-TW" altLang="zh-TW" dirty="0" smtClean="0">
              <a:sym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3112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83" r:id="rId3"/>
    <p:sldLayoutId id="2147483820" r:id="rId4"/>
  </p:sldLayoutIdLst>
  <p:transition spd="med"/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n-cs"/>
          <a:sym typeface="Helvetica" panose="020B0604020202020204" pitchFamily="34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  <a:sym typeface="Helvetica" panose="020B0604020202020204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  <a:sym typeface="Helvetica" panose="020B0604020202020204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  <a:sym typeface="Helvetica" panose="020B0604020202020204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  <a:sym typeface="Helvetica" panose="020B0604020202020204" pitchFamily="34" charset="0"/>
        </a:defRPr>
      </a:lvl5pPr>
      <a:lvl6pPr indent="457200" defTabSz="457200">
        <a:defRPr sz="1200">
          <a:latin typeface="+mn-lt"/>
          <a:ea typeface="+mn-ea"/>
          <a:cs typeface="+mn-cs"/>
          <a:sym typeface="Helvetica"/>
        </a:defRPr>
      </a:lvl6pPr>
      <a:lvl7pPr indent="914400" defTabSz="457200">
        <a:defRPr sz="1200">
          <a:latin typeface="+mn-lt"/>
          <a:ea typeface="+mn-ea"/>
          <a:cs typeface="+mn-cs"/>
          <a:sym typeface="Helvetica"/>
        </a:defRPr>
      </a:lvl7pPr>
      <a:lvl8pPr indent="1371600" defTabSz="457200">
        <a:defRPr sz="1200">
          <a:latin typeface="+mn-lt"/>
          <a:ea typeface="+mn-ea"/>
          <a:cs typeface="+mn-cs"/>
          <a:sym typeface="Helvetica"/>
        </a:defRPr>
      </a:lvl8pPr>
      <a:lvl9pPr indent="1828800" defTabSz="457200">
        <a:defRPr sz="1200">
          <a:latin typeface="+mn-lt"/>
          <a:ea typeface="+mn-ea"/>
          <a:cs typeface="+mn-cs"/>
          <a:sym typeface="Helvetica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微軟正黑體" panose="020B0604030504040204" pitchFamily="34" charset="-120"/>
          <a:ea typeface="微軟正黑體" panose="020B0604030504040204" pitchFamily="34" charset="-120"/>
          <a:cs typeface="+mn-cs"/>
          <a:sym typeface="Helvetica" panose="020B0604020202020204" pitchFamily="34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  <a:cs typeface="+mn-cs"/>
          <a:sym typeface="Helvetica" panose="020B0604020202020204" pitchFamily="34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  <a:sym typeface="Helvetica" panose="020B0604020202020204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  <a:cs typeface="+mn-cs"/>
          <a:sym typeface="Helvetica" panose="020B0604020202020204" pitchFamily="34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  <a:sym typeface="Helvetica" panose="020B0604020202020204" pitchFamily="34" charset="0"/>
        </a:defRPr>
      </a:lvl5pPr>
      <a:lvl6pPr indent="457200" defTabSz="457200">
        <a:defRPr sz="1200">
          <a:latin typeface="+mn-lt"/>
          <a:ea typeface="+mn-ea"/>
          <a:cs typeface="+mn-cs"/>
          <a:sym typeface="Helvetica"/>
        </a:defRPr>
      </a:lvl6pPr>
      <a:lvl7pPr indent="914400" defTabSz="457200">
        <a:defRPr sz="1200">
          <a:latin typeface="+mn-lt"/>
          <a:ea typeface="+mn-ea"/>
          <a:cs typeface="+mn-cs"/>
          <a:sym typeface="Helvetica"/>
        </a:defRPr>
      </a:lvl7pPr>
      <a:lvl8pPr indent="1371600" defTabSz="457200">
        <a:defRPr sz="1200">
          <a:latin typeface="+mn-lt"/>
          <a:ea typeface="+mn-ea"/>
          <a:cs typeface="+mn-cs"/>
          <a:sym typeface="Helvetica"/>
        </a:defRPr>
      </a:lvl8pPr>
      <a:lvl9pPr indent="1828800" defTabSz="457200">
        <a:defRPr sz="1200">
          <a:latin typeface="+mn-lt"/>
          <a:ea typeface="+mn-ea"/>
          <a:cs typeface="+mn-cs"/>
          <a:sym typeface="Helvetica"/>
        </a:defRPr>
      </a:lvl9pPr>
    </p:bodyStyle>
    <p:otherStyle>
      <a:lvl1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1pPr>
      <a:lvl2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2pPr>
      <a:lvl3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3pPr>
      <a:lvl4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4pPr>
      <a:lvl5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5pPr>
      <a:lvl6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6pPr>
      <a:lvl7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7pPr>
      <a:lvl8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8pPr>
      <a:lvl9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82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 smtClean="0"/>
              <a:t>按一下以編輯母片標題樣式</a:t>
            </a:r>
            <a:endParaRPr lang="en-US" altLang="zh-TW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75" marR="0" lvl="0" indent="-104775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1 </a:t>
              </a:r>
              <a:r>
                <a:rPr kumimoji="0" lang="zh-TW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註釋</a:t>
              </a:r>
              <a:endPara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631825" marR="0" lvl="0" indent="-631825" algn="l" defTabSz="8937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31825" algn="l"/>
                </a:tabLst>
                <a:defRPr/>
              </a:pPr>
              <a:r>
                <a:rPr kumimoji="0" lang="zh-TW" altLang="en-US" sz="10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資料來源：</a:t>
              </a:r>
              <a:endParaRPr kumimoji="0" lang="en-US" altLang="zh-TW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Title</a:t>
              </a:r>
            </a:p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  <a:endParaRPr kumimoji="0" lang="en-US" altLang="zh-TW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  <a:endParaRPr kumimoji="0" lang="en-US" altLang="zh-TW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1453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78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 smtClean="0"/>
              <a:t>按一下以編輯母片標題樣式</a:t>
            </a:r>
            <a:endParaRPr lang="en-US" altLang="zh-TW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75" marR="0" lvl="0" indent="-104775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1 </a:t>
              </a:r>
              <a:r>
                <a:rPr kumimoji="0" lang="zh-TW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註釋</a:t>
              </a:r>
              <a:endPara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631825" marR="0" lvl="0" indent="-631825" algn="l" defTabSz="8937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31825" algn="l"/>
                </a:tabLst>
                <a:defRPr/>
              </a:pPr>
              <a:r>
                <a:rPr kumimoji="0" lang="zh-TW" altLang="en-US" sz="10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資料來源：</a:t>
              </a:r>
              <a:endParaRPr kumimoji="0" lang="en-US" altLang="zh-TW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Title</a:t>
              </a:r>
            </a:p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  <a:endParaRPr kumimoji="0" lang="en-US" altLang="zh-TW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  <a:endParaRPr kumimoji="0" lang="en-US" altLang="zh-TW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4247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09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 smtClean="0"/>
              <a:t>按一下以編輯母片標題樣式</a:t>
            </a:r>
            <a:endParaRPr lang="en-US" altLang="zh-TW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Text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37451" y="6597373"/>
            <a:ext cx="438779" cy="260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defTabSz="894181">
              <a:spcAft>
                <a:spcPct val="0"/>
              </a:spcAft>
              <a:buClrTx/>
              <a:defRPr sz="1000" b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75" marR="0" lvl="0" indent="-104775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1 </a:t>
              </a:r>
              <a:r>
                <a:rPr kumimoji="0" lang="zh-TW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註釋</a:t>
              </a:r>
              <a:endPara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631825" marR="0" lvl="0" indent="-631825" algn="l" defTabSz="8937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31825" algn="l"/>
                </a:tabLst>
                <a:defRPr/>
              </a:pPr>
              <a:r>
                <a:rPr kumimoji="0" lang="zh-TW" altLang="en-US" sz="10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資料來源：</a:t>
              </a:r>
              <a:endParaRPr kumimoji="0" lang="en-US" altLang="zh-TW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Title</a:t>
              </a:r>
            </a:p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  <a:endParaRPr kumimoji="0" lang="en-US" altLang="zh-TW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  <a:endParaRPr kumimoji="0" lang="en-US" altLang="zh-TW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1951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05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 smtClean="0"/>
              <a:t>按一下以編輯母片標題樣式</a:t>
            </a:r>
            <a:endParaRPr lang="en-US" altLang="zh-TW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Text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37451" y="6597373"/>
            <a:ext cx="438779" cy="260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defTabSz="894181">
              <a:spcAft>
                <a:spcPct val="0"/>
              </a:spcAft>
              <a:buClrTx/>
              <a:defRPr sz="1000" b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75" marR="0" lvl="0" indent="-104775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1 </a:t>
              </a:r>
              <a:r>
                <a:rPr kumimoji="0" lang="zh-TW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註釋</a:t>
              </a:r>
              <a:endPara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631825" marR="0" lvl="0" indent="-631825" algn="l" defTabSz="8937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31825" algn="l"/>
                </a:tabLst>
                <a:defRPr/>
              </a:pPr>
              <a:r>
                <a:rPr kumimoji="0" lang="zh-TW" altLang="en-US" sz="10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資料來源：</a:t>
              </a:r>
              <a:endParaRPr kumimoji="0" lang="en-US" altLang="zh-TW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Title</a:t>
              </a:r>
            </a:p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  <a:endParaRPr kumimoji="0" lang="en-US" altLang="zh-TW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  <a:endParaRPr kumimoji="0" lang="en-US" altLang="zh-TW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5193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99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 smtClean="0"/>
              <a:t>按一下以編輯母片標題樣式</a:t>
            </a:r>
            <a:endParaRPr lang="en-US" altLang="zh-TW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Text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37451" y="6597373"/>
            <a:ext cx="438779" cy="260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defTabSz="894181">
              <a:spcAft>
                <a:spcPct val="0"/>
              </a:spcAft>
              <a:buClrTx/>
              <a:defRPr sz="1000" b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75" marR="0" lvl="0" indent="-104775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1 </a:t>
              </a:r>
              <a:r>
                <a:rPr kumimoji="0" lang="zh-TW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註釋</a:t>
              </a:r>
              <a:endPara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631825" marR="0" lvl="0" indent="-631825" algn="l" defTabSz="8937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31825" algn="l"/>
                </a:tabLst>
                <a:defRPr/>
              </a:pPr>
              <a:r>
                <a:rPr kumimoji="0" lang="zh-TW" altLang="en-US" sz="10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資料來源：</a:t>
              </a:r>
              <a:endParaRPr kumimoji="0" lang="en-US" altLang="zh-TW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Title</a:t>
              </a:r>
            </a:p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  <a:endParaRPr kumimoji="0" lang="en-US" altLang="zh-TW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  <a:endParaRPr kumimoji="0" lang="en-US" altLang="zh-TW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3837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95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 smtClean="0"/>
              <a:t>按一下以編輯母片標題樣式</a:t>
            </a:r>
            <a:endParaRPr lang="en-US" altLang="zh-TW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Text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37451" y="6597373"/>
            <a:ext cx="438779" cy="260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defTabSz="894181">
              <a:spcAft>
                <a:spcPct val="0"/>
              </a:spcAft>
              <a:buClrTx/>
              <a:defRPr sz="1000" b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75" marR="0" lvl="0" indent="-104775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1 </a:t>
              </a:r>
              <a:r>
                <a:rPr kumimoji="0" lang="zh-TW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註釋</a:t>
              </a:r>
              <a:endPara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631825" marR="0" lvl="0" indent="-631825" algn="l" defTabSz="8937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31825" algn="l"/>
                </a:tabLst>
                <a:defRPr/>
              </a:pPr>
              <a:r>
                <a:rPr kumimoji="0" lang="zh-TW" altLang="en-US" sz="10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資料來源：</a:t>
              </a:r>
              <a:endParaRPr kumimoji="0" lang="en-US" altLang="zh-TW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Title</a:t>
              </a:r>
            </a:p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  <a:endParaRPr kumimoji="0" lang="en-US" altLang="zh-TW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  <a:endParaRPr kumimoji="0" lang="en-US" altLang="zh-TW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1041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6042430"/>
              </p:ext>
            </p:extLst>
          </p:nvPr>
        </p:nvGraphicFramePr>
        <p:xfrm>
          <a:off x="1744" y="174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4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4" y="174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00" y="234892"/>
            <a:ext cx="879411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smtClean="0"/>
              <a:t>按一下以編輯母片標題樣式</a:t>
            </a:r>
            <a:endParaRPr lang="en-US" altLang="zh-TW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2" y="199070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2804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 smtClean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2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74" y="1158128"/>
            <a:ext cx="4350891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2804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902804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 smtClean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4" y="2776285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2804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013" y="3931151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2804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98537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987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987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987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987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987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60185" algn="l" defTabSz="9012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20452" algn="l" defTabSz="9012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80674" algn="l" defTabSz="9012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40902" algn="l" defTabSz="9012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5241" indent="-345241" algn="l" defTabSz="89987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403" indent="-191802" algn="l" defTabSz="8998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8696" indent="-262128" algn="l" defTabSz="8998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6963" indent="-155039" algn="l" defTabSz="8998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9624" indent="-129474" algn="l" defTabSz="8998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11297" indent="-131044" algn="l" defTabSz="9012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71519" indent="-131044" algn="l" defTabSz="9012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31735" indent="-131044" algn="l" defTabSz="9012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91969" indent="-131044" algn="l" defTabSz="9012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0185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20452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80674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40902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01131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61353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21579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81809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1704260"/>
              </p:ext>
            </p:extLst>
          </p:nvPr>
        </p:nvGraphicFramePr>
        <p:xfrm>
          <a:off x="1741" y="1740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90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1" y="1740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00" y="234892"/>
            <a:ext cx="879411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smtClean="0"/>
              <a:t>按一下以編輯母片標題樣式</a:t>
            </a:r>
            <a:endParaRPr lang="en-US" altLang="zh-TW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2" y="199070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129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 smtClean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2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71" y="1158125"/>
            <a:ext cx="4350891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129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903129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 smtClean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4" y="2776282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129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013" y="3931148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129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82645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0019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019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90019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90019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90019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60350" algn="l" defTabSz="9016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20782" algn="l" defTabSz="9016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81171" algn="l" defTabSz="9016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41565" algn="l" defTabSz="9016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5366" indent="-345366" algn="l" defTabSz="90019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472" indent="-191871" algn="l" defTabSz="9001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8861" indent="-262223" algn="l" defTabSz="9001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7185" indent="-155094" algn="l" defTabSz="9001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9894" indent="-129519" algn="l" defTabSz="9001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11732" indent="-131089" algn="l" defTabSz="9016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72119" indent="-131089" algn="l" defTabSz="9016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32503" indent="-131089" algn="l" defTabSz="9016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92902" indent="-131089" algn="l" defTabSz="9016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0350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20782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81171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41565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01959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62348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22740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83135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0570287"/>
              </p:ext>
            </p:extLst>
          </p:nvPr>
        </p:nvGraphicFramePr>
        <p:xfrm>
          <a:off x="1737" y="1736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55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7" y="1736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00" y="234892"/>
            <a:ext cx="879411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smtClean="0"/>
              <a:t>按一下以編輯母片標題樣式</a:t>
            </a:r>
            <a:endParaRPr lang="en-US" altLang="zh-TW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2" y="199070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562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 smtClean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06" y="620202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7" y="1158121"/>
            <a:ext cx="4350891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562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903562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 smtClean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4" y="2776278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562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013" y="3931144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562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18852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006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06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9006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9006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9006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60570" algn="l" defTabSz="90203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21222" algn="l" defTabSz="90203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81835" algn="l" defTabSz="90203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42449" algn="l" defTabSz="90203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5533" indent="-345533" algn="l" defTabSz="900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66" indent="-191963" algn="l" defTabSz="900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9081" indent="-262349" algn="l" defTabSz="900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7481" indent="-155167" algn="l" defTabSz="900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50254" indent="-129579" algn="l" defTabSz="900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12312" indent="-131149" algn="l" defTabSz="90203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72920" indent="-131149" algn="l" defTabSz="90203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33527" indent="-131149" algn="l" defTabSz="90203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94147" indent="-131149" algn="l" defTabSz="90203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0570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21222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81835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42449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03064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63674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24288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84903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04427441"/>
              </p:ext>
            </p:extLst>
          </p:nvPr>
        </p:nvGraphicFramePr>
        <p:xfrm>
          <a:off x="1732" y="173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21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2" y="173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00" y="234890"/>
            <a:ext cx="879411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smtClean="0"/>
              <a:t>按一下以編輯母片標題樣式</a:t>
            </a:r>
            <a:endParaRPr lang="en-US" altLang="zh-TW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1" y="1990707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4104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 smtClean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01" y="620202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46779"/>
            <a:ext cx="4350891" cy="521557"/>
            <a:chOff x="915" y="708"/>
            <a:chExt cx="2686" cy="322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4104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904104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 smtClean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2" y="2776273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4104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013" y="3931139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4104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34220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0116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116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90116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90116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90116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60845" algn="l" defTabSz="9025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21773" algn="l" defTabSz="9025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82665" algn="l" defTabSz="9025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43554" algn="l" defTabSz="9025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5741" indent="-345741" algn="l" defTabSz="90116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82" indent="-192078" algn="l" defTabSz="90116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9356" indent="-262507" algn="l" defTabSz="90116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7851" indent="-155259" algn="l" defTabSz="90116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50704" indent="-129656" algn="l" defTabSz="90116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13037" indent="-131224" algn="l" defTabSz="9025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73925" indent="-131224" algn="l" defTabSz="9025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34807" indent="-131224" algn="l" defTabSz="9025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95704" indent="-131224" algn="l" defTabSz="9025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0845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21773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82665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43554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04448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65334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26223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87114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7821711"/>
              </p:ext>
            </p:extLst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14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 smtClean="0"/>
              <a:t>按一下以編輯母片標題樣式</a:t>
            </a:r>
            <a:endParaRPr lang="en-US" altLang="zh-TW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 smtClean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 smtClean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7869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2011035"/>
              </p:ext>
            </p:extLst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03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 smtClean="0"/>
              <a:t>按一下以編輯母片標題樣式</a:t>
            </a:r>
            <a:endParaRPr lang="en-US" altLang="zh-TW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 smtClean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 smtClean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45767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76323512"/>
              </p:ext>
            </p:extLst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88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 smtClean="0"/>
              <a:t>按一下以編輯母片標題樣式</a:t>
            </a:r>
            <a:endParaRPr lang="en-US" altLang="zh-TW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 smtClean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 smtClean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6853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97925874"/>
              </p:ext>
            </p:extLst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49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 smtClean="0"/>
              <a:t>按一下以編輯母片標題樣式</a:t>
            </a:r>
            <a:endParaRPr lang="en-US" altLang="zh-TW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 smtClean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 smtClean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 smtClean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 smtClean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 smtClean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07365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1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1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hape 26"/>
          <p:cNvSpPr>
            <a:spLocks noChangeArrowheads="1"/>
          </p:cNvSpPr>
          <p:nvPr/>
        </p:nvSpPr>
        <p:spPr bwMode="auto">
          <a:xfrm>
            <a:off x="539552" y="2564904"/>
            <a:ext cx="8066088" cy="861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8" tIns="45718" rIns="45718" bIns="45718">
            <a:spAutoFit/>
          </a:bodyPr>
          <a:lstStyle>
            <a:lvl1pPr>
              <a:spcBef>
                <a:spcPct val="20000"/>
              </a:spcBef>
              <a:buChar char="•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9pPr>
          </a:lstStyle>
          <a:p>
            <a:pPr lvl="0" algn="ctr" defTabSz="914400" fontAlgn="base">
              <a:spcBef>
                <a:spcPct val="0"/>
              </a:spcBef>
              <a:spcAft>
                <a:spcPts val="600"/>
              </a:spcAft>
              <a:buNone/>
            </a:pPr>
            <a:r>
              <a:rPr lang="zh-TW" altLang="en-US" sz="50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永薇</a:t>
            </a:r>
          </a:p>
        </p:txBody>
      </p:sp>
    </p:spTree>
    <p:extLst>
      <p:ext uri="{BB962C8B-B14F-4D97-AF65-F5344CB8AC3E}">
        <p14:creationId xmlns:p14="http://schemas.microsoft.com/office/powerpoint/2010/main" val="405205824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關於我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idx="1"/>
          </p:nvPr>
        </p:nvSpPr>
        <p:spPr>
          <a:xfrm>
            <a:off x="467544" y="692696"/>
            <a:ext cx="8229600" cy="4824535"/>
          </a:xfrm>
        </p:spPr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zh-TW" altLang="en-US" sz="2400" dirty="0" smtClean="0"/>
              <a:t>個性</a:t>
            </a:r>
            <a:endParaRPr lang="en-US" altLang="zh-TW" sz="2400" dirty="0" smtClean="0"/>
          </a:p>
          <a:p>
            <a:pPr lvl="1"/>
            <a:endParaRPr lang="en-US" altLang="zh-TW" sz="2400" dirty="0" smtClean="0"/>
          </a:p>
          <a:p>
            <a:pPr lvl="1"/>
            <a:endParaRPr lang="en-US" altLang="zh-TW" sz="2400" dirty="0" smtClean="0"/>
          </a:p>
          <a:p>
            <a:pPr lvl="1"/>
            <a:endParaRPr lang="en-US" altLang="zh-TW" sz="2400" dirty="0" smtClean="0"/>
          </a:p>
          <a:p>
            <a:pPr lvl="1"/>
            <a:endParaRPr lang="en-US" altLang="zh-TW" sz="2400" dirty="0" smtClean="0"/>
          </a:p>
          <a:p>
            <a:pPr lvl="1"/>
            <a:endParaRPr lang="en-US" altLang="zh-TW" sz="2400" dirty="0" smtClean="0"/>
          </a:p>
          <a:p>
            <a:pPr lvl="1">
              <a:buFont typeface="Arial" pitchFamily="34" charset="0"/>
              <a:buChar char="•"/>
            </a:pPr>
            <a:r>
              <a:rPr lang="zh-TW" altLang="en-US" sz="2400" dirty="0" smtClean="0"/>
              <a:t>興趣與專長</a:t>
            </a:r>
            <a:endParaRPr lang="en-US" altLang="zh-TW" sz="2400" dirty="0" smtClean="0"/>
          </a:p>
          <a:p>
            <a:pPr marL="457200" lvl="1" indent="0">
              <a:buNone/>
            </a:pPr>
            <a:endParaRPr lang="zh-TW" altLang="en-US" sz="2400" dirty="0"/>
          </a:p>
          <a:p>
            <a:pPr marL="0" indent="0">
              <a:buNone/>
            </a:pPr>
            <a:endParaRPr lang="zh-TW" altLang="en-US" sz="1600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1</a:t>
            </a:fld>
            <a:r>
              <a:rPr lang="en-US" altLang="zh-TW" smtClean="0"/>
              <a:t> </a:t>
            </a:r>
            <a:endParaRPr lang="en-US" altLang="zh-TW" dirty="0"/>
          </a:p>
        </p:txBody>
      </p:sp>
      <p:sp>
        <p:nvSpPr>
          <p:cNvPr id="20" name="矩形 19"/>
          <p:cNvSpPr/>
          <p:nvPr/>
        </p:nvSpPr>
        <p:spPr>
          <a:xfrm>
            <a:off x="3982009" y="2301245"/>
            <a:ext cx="47320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defTabSz="914400" latinLnBrk="1" hangingPunct="0">
              <a:spcBef>
                <a:spcPts val="600"/>
              </a:spcBef>
              <a:buFont typeface="Wingdings" panose="05000000000000000000" pitchFamily="2" charset="2"/>
              <a:buChar char="n"/>
            </a:pPr>
            <a:endParaRPr lang="en-US" altLang="zh-TW" sz="1400" dirty="0">
              <a:solidFill>
                <a:srgbClr val="000000"/>
              </a:solidFill>
              <a:latin typeface="微軟正黑體" panose="020B0604030504040204" pitchFamily="34" charset="-120"/>
              <a:ea typeface="微軟正黑體" panose="020B0604030504040204" pitchFamily="34" charset="-120"/>
              <a:sym typeface="Helvetica"/>
            </a:endParaRPr>
          </a:p>
        </p:txBody>
      </p:sp>
      <p:graphicFrame>
        <p:nvGraphicFramePr>
          <p:cNvPr id="6" name="資料庫圖表 5"/>
          <p:cNvGraphicFramePr/>
          <p:nvPr>
            <p:extLst>
              <p:ext uri="{D42A27DB-BD31-4B8C-83A1-F6EECF244321}">
                <p14:modId xmlns:p14="http://schemas.microsoft.com/office/powerpoint/2010/main" val="2878919456"/>
              </p:ext>
            </p:extLst>
          </p:nvPr>
        </p:nvGraphicFramePr>
        <p:xfrm>
          <a:off x="1403648" y="1331121"/>
          <a:ext cx="6624736" cy="18098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資料庫圖表 6"/>
          <p:cNvGraphicFramePr/>
          <p:nvPr>
            <p:extLst>
              <p:ext uri="{D42A27DB-BD31-4B8C-83A1-F6EECF244321}">
                <p14:modId xmlns:p14="http://schemas.microsoft.com/office/powerpoint/2010/main" val="142354035"/>
              </p:ext>
            </p:extLst>
          </p:nvPr>
        </p:nvGraphicFramePr>
        <p:xfrm>
          <a:off x="1403648" y="3861048"/>
          <a:ext cx="6552728" cy="1800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570725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562074"/>
          </a:xfrm>
        </p:spPr>
        <p:txBody>
          <a:bodyPr/>
          <a:lstStyle/>
          <a:p>
            <a:r>
              <a:rPr lang="zh-TW" altLang="en-US" dirty="0" smtClean="0"/>
              <a:t>關於我</a:t>
            </a:r>
            <a:endParaRPr lang="zh-TW" altLang="en-US" dirty="0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sz="2400" dirty="0"/>
              <a:t>學歷</a:t>
            </a:r>
            <a:endParaRPr lang="en-US" altLang="zh-TW" sz="2400" dirty="0" smtClean="0"/>
          </a:p>
          <a:p>
            <a:pPr>
              <a:buFont typeface="微軟正黑體" pitchFamily="34" charset="-120"/>
              <a:buChar char="–"/>
            </a:pPr>
            <a:endParaRPr lang="en-US" altLang="zh-TW" sz="2400" dirty="0" smtClean="0"/>
          </a:p>
          <a:p>
            <a:pPr>
              <a:buFont typeface="微軟正黑體" pitchFamily="34" charset="-120"/>
              <a:buChar char="–"/>
            </a:pP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endParaRPr lang="en-US" altLang="zh-TW" sz="2400" dirty="0" smtClean="0"/>
          </a:p>
          <a:p>
            <a:pPr>
              <a:buFont typeface="微軟正黑體" pitchFamily="34" charset="-120"/>
              <a:buChar char="–"/>
            </a:pPr>
            <a:endParaRPr lang="en-US" altLang="zh-TW" sz="2400" dirty="0"/>
          </a:p>
          <a:p>
            <a:r>
              <a:rPr lang="zh-TW" altLang="en-US" sz="2400" dirty="0" smtClean="0"/>
              <a:t>所</a:t>
            </a:r>
            <a:r>
              <a:rPr lang="zh-TW" altLang="en-US" sz="2400" dirty="0"/>
              <a:t>學過</a:t>
            </a:r>
            <a:r>
              <a:rPr lang="zh-TW" altLang="en-US" sz="2400" dirty="0" smtClean="0"/>
              <a:t>程式</a:t>
            </a:r>
            <a:endParaRPr lang="en-US" altLang="zh-TW" sz="2400" dirty="0"/>
          </a:p>
          <a:p>
            <a:pPr lvl="1">
              <a:buFont typeface="微軟正黑體" pitchFamily="34" charset="-120"/>
              <a:buChar char="–"/>
            </a:pPr>
            <a:r>
              <a:rPr lang="zh-TW" altLang="en-US" sz="2400" dirty="0" smtClean="0"/>
              <a:t> </a:t>
            </a:r>
            <a:r>
              <a:rPr lang="en-US" altLang="zh-TW" sz="2400" dirty="0" smtClean="0"/>
              <a:t>C#</a:t>
            </a:r>
          </a:p>
          <a:p>
            <a:pPr lvl="1">
              <a:buFont typeface="微軟正黑體" pitchFamily="34" charset="-120"/>
              <a:buChar char="–"/>
            </a:pPr>
            <a:r>
              <a:rPr lang="zh-TW" altLang="en-US" sz="2400" dirty="0" smtClean="0"/>
              <a:t> </a:t>
            </a:r>
            <a:r>
              <a:rPr lang="en-US" altLang="zh-TW" sz="2400" dirty="0" smtClean="0"/>
              <a:t>MySQL</a:t>
            </a:r>
          </a:p>
          <a:p>
            <a:pPr lvl="1">
              <a:buFont typeface="微軟正黑體" pitchFamily="34" charset="-120"/>
              <a:buChar char="–"/>
            </a:pPr>
            <a:r>
              <a:rPr lang="en-US" altLang="zh-TW" sz="2400" dirty="0" smtClean="0"/>
              <a:t> ASP.NET</a:t>
            </a:r>
            <a:r>
              <a:rPr lang="zh-TW" altLang="en-US" sz="2400" dirty="0" smtClean="0"/>
              <a:t>網頁程式開發</a:t>
            </a:r>
            <a:endParaRPr lang="en-US" altLang="zh-TW" sz="2400" dirty="0" smtClean="0"/>
          </a:p>
          <a:p>
            <a:pPr lvl="1">
              <a:buFont typeface="微軟正黑體" pitchFamily="34" charset="-120"/>
              <a:buChar char="–"/>
            </a:pPr>
            <a:r>
              <a:rPr lang="zh-TW" altLang="en-US" sz="2400" dirty="0" smtClean="0"/>
              <a:t> </a:t>
            </a:r>
            <a:r>
              <a:rPr lang="en-US" altLang="zh-TW" sz="2400" dirty="0" smtClean="0"/>
              <a:t>Swift </a:t>
            </a:r>
          </a:p>
          <a:p>
            <a:pPr>
              <a:buFont typeface="微軟正黑體" pitchFamily="34" charset="-120"/>
              <a:buChar char="–"/>
            </a:pPr>
            <a:endParaRPr lang="zh-TW" altLang="en-US" sz="240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2</a:t>
            </a:fld>
            <a:r>
              <a:rPr lang="en-US" altLang="zh-TW" smtClean="0"/>
              <a:t> </a:t>
            </a:r>
            <a:endParaRPr lang="en-US" altLang="zh-TW" dirty="0"/>
          </a:p>
        </p:txBody>
      </p:sp>
      <p:graphicFrame>
        <p:nvGraphicFramePr>
          <p:cNvPr id="5" name="資料庫圖表 4"/>
          <p:cNvGraphicFramePr/>
          <p:nvPr>
            <p:extLst>
              <p:ext uri="{D42A27DB-BD31-4B8C-83A1-F6EECF244321}">
                <p14:modId xmlns:p14="http://schemas.microsoft.com/office/powerpoint/2010/main" val="1067521059"/>
              </p:ext>
            </p:extLst>
          </p:nvPr>
        </p:nvGraphicFramePr>
        <p:xfrm>
          <a:off x="395536" y="1052736"/>
          <a:ext cx="8208912" cy="2448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15020805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學習</a:t>
            </a:r>
            <a:r>
              <a:rPr lang="zh-TW" altLang="en-US" dirty="0"/>
              <a:t>作品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sz="2400" dirty="0" smtClean="0"/>
              <a:t>批價系統</a:t>
            </a:r>
            <a:r>
              <a:rPr lang="en-US" altLang="zh-TW" sz="2400" dirty="0" smtClean="0"/>
              <a:t>:</a:t>
            </a:r>
            <a:r>
              <a:rPr lang="zh-TW" altLang="en-US" sz="2400" dirty="0" smtClean="0"/>
              <a:t>使用</a:t>
            </a:r>
            <a:r>
              <a:rPr lang="en-US" altLang="zh-TW" sz="2400" dirty="0" smtClean="0"/>
              <a:t>C#</a:t>
            </a:r>
            <a:r>
              <a:rPr lang="zh-TW" altLang="en-US" sz="2400" dirty="0" smtClean="0"/>
              <a:t>與</a:t>
            </a:r>
            <a:r>
              <a:rPr lang="en-US" altLang="zh-TW" sz="2400" dirty="0" smtClean="0"/>
              <a:t>SQL</a:t>
            </a:r>
            <a:r>
              <a:rPr lang="zh-TW" altLang="en-US" sz="2400" dirty="0" smtClean="0"/>
              <a:t>開發</a:t>
            </a:r>
            <a:endParaRPr lang="en-US" altLang="zh-TW" sz="2400" dirty="0" smtClean="0"/>
          </a:p>
          <a:p>
            <a:pPr>
              <a:buFont typeface="微軟正黑體" pitchFamily="34" charset="-120"/>
              <a:buChar char="–"/>
            </a:pPr>
            <a:endParaRPr lang="en-US" altLang="zh-TW" sz="2400" dirty="0" smtClean="0"/>
          </a:p>
          <a:p>
            <a:pPr>
              <a:buFont typeface="微軟正黑體" pitchFamily="34" charset="-120"/>
              <a:buChar char="–"/>
            </a:pP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endParaRPr lang="en-US" altLang="zh-TW" sz="2400" dirty="0" smtClean="0"/>
          </a:p>
          <a:p>
            <a:pPr>
              <a:buFont typeface="微軟正黑體" pitchFamily="34" charset="-120"/>
              <a:buChar char="–"/>
            </a:pP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endParaRPr lang="en-US" altLang="zh-TW" sz="2400" dirty="0" smtClean="0"/>
          </a:p>
          <a:p>
            <a:pPr>
              <a:buFont typeface="微軟正黑體" pitchFamily="34" charset="-120"/>
              <a:buChar char="–"/>
            </a:pP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endParaRPr lang="en-US" altLang="zh-TW" sz="2400" dirty="0" smtClean="0"/>
          </a:p>
          <a:p>
            <a:pPr>
              <a:buFont typeface="微軟正黑體" pitchFamily="34" charset="-120"/>
              <a:buChar char="–"/>
            </a:pPr>
            <a:endParaRPr lang="en-US" altLang="zh-TW" sz="2400" dirty="0"/>
          </a:p>
          <a:p>
            <a:pPr marL="0" indent="0">
              <a:buNone/>
            </a:pPr>
            <a:r>
              <a:rPr lang="zh-TW" altLang="en-US" sz="2400" dirty="0" smtClean="0"/>
              <a:t>     </a:t>
            </a:r>
            <a:endParaRPr lang="zh-TW" altLang="en-US" sz="240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3</a:t>
            </a:fld>
            <a:r>
              <a:rPr lang="en-US" altLang="zh-TW" smtClean="0"/>
              <a:t> </a:t>
            </a:r>
            <a:endParaRPr lang="en-US" altLang="zh-TW" dirty="0"/>
          </a:p>
        </p:txBody>
      </p:sp>
      <p:pic>
        <p:nvPicPr>
          <p:cNvPr id="6" name="圖片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1772816"/>
            <a:ext cx="2250440" cy="3130550"/>
          </a:xfrm>
          <a:prstGeom prst="rect">
            <a:avLst/>
          </a:prstGeom>
        </p:spPr>
      </p:pic>
      <p:pic>
        <p:nvPicPr>
          <p:cNvPr id="7" name="圖片 6" descr="一張含有 桌 的圖片&#10;&#10;自動產生的描述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3928" y="2348880"/>
            <a:ext cx="3727450" cy="220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580663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學習作品</a:t>
            </a:r>
            <a:endParaRPr lang="zh-TW" altLang="en-US" dirty="0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微軟正黑體" pitchFamily="34" charset="-120"/>
              <a:buChar char="–"/>
            </a:pPr>
            <a:r>
              <a:rPr lang="zh-TW" altLang="en-US" sz="2400" dirty="0"/>
              <a:t>批價系統</a:t>
            </a:r>
            <a:r>
              <a:rPr lang="en-US" altLang="zh-TW" sz="2400" dirty="0"/>
              <a:t>:</a:t>
            </a:r>
            <a:r>
              <a:rPr lang="zh-TW" altLang="en-US" sz="2400" dirty="0"/>
              <a:t>使用</a:t>
            </a:r>
            <a:r>
              <a:rPr lang="en-US" altLang="zh-TW" sz="2400" dirty="0"/>
              <a:t>C#</a:t>
            </a:r>
            <a:r>
              <a:rPr lang="zh-TW" altLang="en-US" sz="2400" dirty="0"/>
              <a:t>與</a:t>
            </a:r>
            <a:r>
              <a:rPr lang="en-US" altLang="zh-TW" sz="2400" dirty="0"/>
              <a:t>SQL</a:t>
            </a:r>
            <a:r>
              <a:rPr lang="zh-TW" altLang="en-US" sz="2400" dirty="0"/>
              <a:t>開發</a:t>
            </a: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endParaRPr lang="zh-TW" altLang="en-US" sz="240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4</a:t>
            </a:fld>
            <a:r>
              <a:rPr lang="en-US" altLang="zh-TW" smtClean="0"/>
              <a:t> </a:t>
            </a:r>
            <a:endParaRPr lang="en-US" altLang="zh-TW" dirty="0"/>
          </a:p>
        </p:txBody>
      </p:sp>
      <p:pic>
        <p:nvPicPr>
          <p:cNvPr id="5" name="圖片 4" descr="一張含有 桌 的圖片&#10;&#10;自動產生的描述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58" y="2060848"/>
            <a:ext cx="4392488" cy="2520280"/>
          </a:xfrm>
          <a:prstGeom prst="rect">
            <a:avLst/>
          </a:prstGeom>
        </p:spPr>
      </p:pic>
      <p:pic>
        <p:nvPicPr>
          <p:cNvPr id="6" name="圖片 5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9" y="2060848"/>
            <a:ext cx="4320481" cy="259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797688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學習作品</a:t>
            </a:r>
            <a:endParaRPr lang="zh-TW" altLang="en-US" dirty="0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微軟正黑體" pitchFamily="34" charset="-120"/>
              <a:buChar char="–"/>
            </a:pPr>
            <a:r>
              <a:rPr lang="zh-TW" altLang="en-US" sz="2400" dirty="0" smtClean="0"/>
              <a:t>簡易運動網站</a:t>
            </a:r>
            <a:r>
              <a:rPr lang="en-US" altLang="zh-TW" sz="2400" dirty="0" smtClean="0"/>
              <a:t>:</a:t>
            </a:r>
            <a:r>
              <a:rPr lang="zh-TW" altLang="en-US" sz="2400" dirty="0" smtClean="0"/>
              <a:t>透過</a:t>
            </a:r>
            <a:r>
              <a:rPr lang="en-US" altLang="zh-TW" sz="2400" dirty="0" smtClean="0"/>
              <a:t>C#</a:t>
            </a:r>
            <a:r>
              <a:rPr lang="zh-TW" altLang="en-US" sz="2400" dirty="0" smtClean="0"/>
              <a:t>和</a:t>
            </a:r>
            <a:r>
              <a:rPr lang="en-US" altLang="zh-TW" sz="2400" dirty="0" smtClean="0"/>
              <a:t>ASP.NET</a:t>
            </a:r>
            <a:r>
              <a:rPr lang="zh-TW" altLang="en-US" sz="2400" dirty="0" smtClean="0"/>
              <a:t>開發</a:t>
            </a:r>
            <a:endParaRPr lang="en-US" altLang="zh-TW" sz="2400" dirty="0" smtClean="0"/>
          </a:p>
          <a:p>
            <a:pPr>
              <a:buFont typeface="微軟正黑體" pitchFamily="34" charset="-120"/>
              <a:buChar char="–"/>
            </a:pPr>
            <a:endParaRPr lang="zh-TW" altLang="en-US" sz="240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5</a:t>
            </a:fld>
            <a:r>
              <a:rPr lang="en-US" altLang="zh-TW" smtClean="0"/>
              <a:t> </a:t>
            </a:r>
            <a:endParaRPr lang="en-US" altLang="zh-TW" dirty="0"/>
          </a:p>
        </p:txBody>
      </p:sp>
      <p:pic>
        <p:nvPicPr>
          <p:cNvPr id="5" name="圖片 4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73" y="1578178"/>
            <a:ext cx="3240360" cy="2321130"/>
          </a:xfrm>
          <a:prstGeom prst="rect">
            <a:avLst/>
          </a:prstGeom>
        </p:spPr>
      </p:pic>
      <p:pic>
        <p:nvPicPr>
          <p:cNvPr id="6" name="圖片 5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8" y="1603489"/>
            <a:ext cx="3312368" cy="2270508"/>
          </a:xfrm>
          <a:prstGeom prst="rect">
            <a:avLst/>
          </a:prstGeom>
        </p:spPr>
      </p:pic>
      <p:pic>
        <p:nvPicPr>
          <p:cNvPr id="7" name="圖片 6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1800" y="3988861"/>
            <a:ext cx="3126209" cy="1944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738931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學習作品</a:t>
            </a:r>
            <a:endParaRPr lang="zh-TW" altLang="en-US" dirty="0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微軟正黑體" pitchFamily="34" charset="-120"/>
              <a:buChar char="–"/>
            </a:pPr>
            <a:r>
              <a:rPr lang="zh-TW" altLang="en-US" sz="2400" dirty="0" smtClean="0"/>
              <a:t>專題研究</a:t>
            </a:r>
            <a:r>
              <a:rPr lang="en-US" altLang="zh-TW" sz="2400" dirty="0" smtClean="0"/>
              <a:t>:</a:t>
            </a:r>
            <a:r>
              <a:rPr lang="zh-TW" altLang="en-US" sz="2400" dirty="0" smtClean="0"/>
              <a:t>跨平台語音智慧導盲杖應用</a:t>
            </a:r>
            <a:endParaRPr lang="en-US" altLang="zh-TW" sz="2400" dirty="0" smtClean="0"/>
          </a:p>
          <a:p>
            <a:pPr>
              <a:buFont typeface="微軟正黑體" pitchFamily="34" charset="-120"/>
              <a:buChar char="–"/>
            </a:pPr>
            <a:endParaRPr lang="en-US" altLang="zh-TW" sz="2400" dirty="0" smtClean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6</a:t>
            </a:fld>
            <a:r>
              <a:rPr lang="en-US" altLang="zh-TW" smtClean="0"/>
              <a:t> </a:t>
            </a:r>
            <a:endParaRPr lang="en-US" altLang="zh-TW" dirty="0"/>
          </a:p>
        </p:txBody>
      </p:sp>
      <p:pic>
        <p:nvPicPr>
          <p:cNvPr id="1157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1988840"/>
            <a:ext cx="6058272" cy="360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3393821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實習</a:t>
            </a:r>
            <a:r>
              <a:rPr lang="en-US" altLang="zh-TW" dirty="0" smtClean="0"/>
              <a:t>/</a:t>
            </a:r>
            <a:r>
              <a:rPr lang="zh-TW" altLang="en-US" dirty="0" smtClean="0"/>
              <a:t>未來目標</a:t>
            </a:r>
            <a:endParaRPr lang="zh-TW" altLang="en-US" dirty="0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sz="2400" dirty="0" smtClean="0"/>
              <a:t>實習期間</a:t>
            </a:r>
            <a:endParaRPr lang="en-US" altLang="zh-TW" sz="2400" dirty="0" smtClean="0"/>
          </a:p>
          <a:p>
            <a:pPr lvl="1">
              <a:buFont typeface="微軟正黑體" pitchFamily="34" charset="-120"/>
              <a:buChar char="–"/>
            </a:pPr>
            <a:r>
              <a:rPr lang="zh-TW" altLang="en-US" sz="2400" dirty="0"/>
              <a:t> </a:t>
            </a:r>
            <a:r>
              <a:rPr lang="zh-TW" altLang="en-US" sz="2400" dirty="0" smtClean="0"/>
              <a:t> 找尋自己喜歡的方向</a:t>
            </a:r>
            <a:endParaRPr lang="en-US" altLang="zh-TW" sz="2400" dirty="0" smtClean="0"/>
          </a:p>
          <a:p>
            <a:pPr lvl="1">
              <a:buFont typeface="微軟正黑體" pitchFamily="34" charset="-120"/>
              <a:buChar char="–"/>
            </a:pPr>
            <a:r>
              <a:rPr lang="zh-TW" altLang="en-US" sz="2400" dirty="0"/>
              <a:t> </a:t>
            </a:r>
            <a:r>
              <a:rPr lang="zh-TW" altLang="en-US" sz="2400" dirty="0" smtClean="0"/>
              <a:t> 加深對程式的熟悉度</a:t>
            </a:r>
            <a:endParaRPr lang="en-US" altLang="zh-TW" sz="2400" dirty="0" smtClean="0"/>
          </a:p>
          <a:p>
            <a:pPr lvl="1">
              <a:buFont typeface="微軟正黑體" pitchFamily="34" charset="-120"/>
              <a:buChar char="–"/>
            </a:pPr>
            <a:r>
              <a:rPr lang="zh-TW" altLang="en-US" sz="2400" dirty="0" smtClean="0"/>
              <a:t>  挑戰自我</a:t>
            </a:r>
            <a:endParaRPr lang="en-US" altLang="zh-TW" sz="2400" dirty="0"/>
          </a:p>
          <a:p>
            <a:pPr>
              <a:buFont typeface="Arial" pitchFamily="34" charset="0"/>
              <a:buChar char="•"/>
            </a:pPr>
            <a:r>
              <a:rPr lang="zh-TW" altLang="en-US" sz="2400" dirty="0" smtClean="0"/>
              <a:t>未來目標</a:t>
            </a:r>
            <a:endParaRPr lang="en-US" altLang="zh-TW" sz="2400" dirty="0" smtClean="0"/>
          </a:p>
          <a:p>
            <a:pPr lvl="1">
              <a:buFont typeface="微軟正黑體" pitchFamily="34" charset="-120"/>
              <a:buChar char="–"/>
            </a:pPr>
            <a:r>
              <a:rPr lang="zh-TW" altLang="en-US" sz="2400" dirty="0" smtClean="0"/>
              <a:t>  考上研究所</a:t>
            </a:r>
            <a:endParaRPr lang="en-US" altLang="zh-TW" sz="2400" dirty="0" smtClean="0"/>
          </a:p>
          <a:p>
            <a:pPr lvl="1">
              <a:buFont typeface="微軟正黑體" pitchFamily="34" charset="-120"/>
              <a:buChar char="–"/>
            </a:pPr>
            <a:r>
              <a:rPr lang="zh-TW" altLang="en-US" sz="2400" dirty="0" smtClean="0"/>
              <a:t>  增進</a:t>
            </a:r>
            <a:r>
              <a:rPr lang="zh-TW" altLang="en-US" sz="2400" dirty="0"/>
              <a:t>英文</a:t>
            </a:r>
            <a:r>
              <a:rPr lang="zh-TW" altLang="en-US" sz="2400" dirty="0" smtClean="0"/>
              <a:t>能力</a:t>
            </a:r>
            <a:endParaRPr lang="en-US" altLang="zh-TW" sz="2400" dirty="0" smtClean="0"/>
          </a:p>
          <a:p>
            <a:pPr lvl="1">
              <a:buFont typeface="微軟正黑體" pitchFamily="34" charset="-120"/>
              <a:buChar char="–"/>
            </a:pPr>
            <a:r>
              <a:rPr lang="zh-TW" altLang="en-US" sz="2400" dirty="0"/>
              <a:t> </a:t>
            </a:r>
            <a:r>
              <a:rPr lang="zh-TW" altLang="en-US" sz="2400" dirty="0" smtClean="0"/>
              <a:t> 到國外開拓視野</a:t>
            </a:r>
            <a:endParaRPr lang="en-US" altLang="zh-TW" sz="2400" dirty="0" smtClean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7</a:t>
            </a:fld>
            <a:r>
              <a:rPr lang="en-US" altLang="zh-TW" smtClean="0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29348999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00&quot; g=&quot;66&quot; b=&quot;CC&quot;/&gt;&lt;m_nBrightness val=&quot;0&quot;/&gt;&lt;/elem&gt;&lt;elem m_fUsage=&quot;9.00000000000000022204E-01&quot;&gt;&lt;m_msothmcolidx val=&quot;0&quot;/&gt;&lt;m_rgb r=&quot;7A&quot; g=&quot;D1&quot; b=&quot;FC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heme/theme1.xml><?xml version="1.0" encoding="utf-8"?>
<a:theme xmlns:a="http://schemas.openxmlformats.org/drawingml/2006/main" name="49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3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Default">
  <a:themeElements>
    <a:clrScheme name="自訂 3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BE0E3"/>
      </a:accent1>
      <a:accent2>
        <a:srgbClr val="333399"/>
      </a:accent2>
      <a:accent3>
        <a:srgbClr val="8F8F8F"/>
      </a:accent3>
      <a:accent4>
        <a:srgbClr val="009999"/>
      </a:accent4>
      <a:accent5>
        <a:srgbClr val="D8ECED"/>
      </a:accent5>
      <a:accent6>
        <a:srgbClr val="2E2E8B"/>
      </a:accent6>
      <a:hlink>
        <a:srgbClr val="0000FF"/>
      </a:hlink>
      <a:folHlink>
        <a:srgbClr val="FF00FF"/>
      </a:folHlink>
    </a:clrScheme>
    <a:fontScheme name="title">
      <a:majorFont>
        <a:latin typeface="微軟正黑體"/>
        <a:ea typeface="微軟正黑體"/>
        <a:cs typeface=""/>
      </a:majorFont>
      <a:minorFont>
        <a:latin typeface="微軟正黑體"/>
        <a:ea typeface="微軟正黑體"/>
        <a:cs typeface="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BBE0E3"/>
          </a:solidFill>
          <a:prstDash val="solid"/>
          <a:bevel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BBE0E3"/>
          </a:solidFill>
          <a:prstDash val="solid"/>
          <a:bevel/>
        </a:ln>
        <a:effectLst>
          <a:outerShdw blurRad="38100" dist="20000" dir="5400000" rotWithShape="0">
            <a:srgbClr val="000000">
              <a:alpha val="38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12.xml><?xml version="1.0" encoding="utf-8"?>
<a:theme xmlns:a="http://schemas.openxmlformats.org/drawingml/2006/main" name="54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none">
        <a:spAutoFit/>
      </a:bodyPr>
      <a:lstStyle>
        <a:defPPr>
          <a:defRPr sz="1400" dirty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75000"/>
            </a:schemeClr>
          </a:solidFill>
          <a:prstDash val="dash"/>
          <a:round/>
          <a:headEnd type="none" w="med" len="med"/>
          <a:tailEnd type="none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400" dirty="0" smtClean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tx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55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none">
        <a:spAutoFit/>
      </a:bodyPr>
      <a:lstStyle>
        <a:defPPr>
          <a:defRPr sz="1400" dirty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75000"/>
            </a:schemeClr>
          </a:solidFill>
          <a:prstDash val="dash"/>
          <a:round/>
          <a:headEnd type="none" w="med" len="med"/>
          <a:tailEnd type="none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400" dirty="0" smtClean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tx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56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57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none">
        <a:spAutoFit/>
      </a:bodyPr>
      <a:lstStyle>
        <a:defPPr>
          <a:defRPr sz="1400" dirty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400" dirty="0" smtClean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tx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58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59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none">
        <a:spAutoFit/>
      </a:bodyPr>
      <a:lstStyle>
        <a:defPPr>
          <a:defRPr sz="1400" dirty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400" dirty="0" smtClean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tx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itle">
      <a:majorFont>
        <a:latin typeface="微軟正黑體"/>
        <a:ea typeface="微軟正黑體"/>
        <a:cs typeface=""/>
      </a:majorFont>
      <a:minorFont>
        <a:latin typeface="Times New Roman"/>
        <a:ea typeface="微軟正黑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9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0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1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2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0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1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2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none">
        <a:spAutoFit/>
      </a:bodyPr>
      <a:lstStyle>
        <a:defPPr>
          <a:defRPr sz="1400" dirty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400" dirty="0" smtClean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tx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3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047</TotalTime>
  <Words>154</Words>
  <Application>Microsoft Office PowerPoint</Application>
  <PresentationFormat>如螢幕大小 (4:3)</PresentationFormat>
  <Paragraphs>70</Paragraphs>
  <Slides>8</Slides>
  <Notes>0</Notes>
  <HiddenSlides>0</HiddenSlides>
  <MMClips>0</MMClips>
  <ScaleCrop>false</ScaleCrop>
  <HeadingPairs>
    <vt:vector size="6" baseType="variant">
      <vt:variant>
        <vt:lpstr>佈景主題</vt:lpstr>
      </vt:variant>
      <vt:variant>
        <vt:i4>17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8</vt:i4>
      </vt:variant>
    </vt:vector>
  </HeadingPairs>
  <TitlesOfParts>
    <vt:vector size="26" baseType="lpstr">
      <vt:lpstr>49_Firm Format - Chinese (Taiwan)</vt:lpstr>
      <vt:lpstr>19_Firm Format - Chinese (Taiwan)</vt:lpstr>
      <vt:lpstr>20_Firm Format - Chinese (Taiwan)</vt:lpstr>
      <vt:lpstr>21_Firm Format - Chinese (Taiwan)</vt:lpstr>
      <vt:lpstr>22_Firm Format - Chinese (Taiwan)</vt:lpstr>
      <vt:lpstr>50_Firm Format - Chinese (Taiwan)</vt:lpstr>
      <vt:lpstr>51_Firm Format - Chinese (Taiwan)</vt:lpstr>
      <vt:lpstr>52_Firm Format - Chinese (Taiwan)</vt:lpstr>
      <vt:lpstr>53_Firm Format - Chinese (Taiwan)</vt:lpstr>
      <vt:lpstr>23_Firm Format - Chinese (Taiwan)</vt:lpstr>
      <vt:lpstr>Default</vt:lpstr>
      <vt:lpstr>54_Firm Format - Chinese (Taiwan)</vt:lpstr>
      <vt:lpstr>55_Firm Format - Chinese (Taiwan)</vt:lpstr>
      <vt:lpstr>56_Firm Format - Chinese (Taiwan)</vt:lpstr>
      <vt:lpstr>57_Firm Format - Chinese (Taiwan)</vt:lpstr>
      <vt:lpstr>58_Firm Format - Chinese (Taiwan)</vt:lpstr>
      <vt:lpstr>59_Firm Format - Chinese (Taiwan)</vt:lpstr>
      <vt:lpstr>think-cell Slide</vt:lpstr>
      <vt:lpstr>PowerPoint 簡報</vt:lpstr>
      <vt:lpstr>關於我</vt:lpstr>
      <vt:lpstr>關於我</vt:lpstr>
      <vt:lpstr>學習作品</vt:lpstr>
      <vt:lpstr>學習作品</vt:lpstr>
      <vt:lpstr>學習作品</vt:lpstr>
      <vt:lpstr>學習作品</vt:lpstr>
      <vt:lpstr>實習/未來目標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簡報</dc:title>
  <dc:creator>謝啟煒</dc:creator>
  <cp:lastModifiedBy>cgh</cp:lastModifiedBy>
  <cp:revision>1109</cp:revision>
  <cp:lastPrinted>2018-09-03T06:45:59Z</cp:lastPrinted>
  <dcterms:created xsi:type="dcterms:W3CDTF">2017-11-06T01:31:56Z</dcterms:created>
  <dcterms:modified xsi:type="dcterms:W3CDTF">2021-10-20T07:22:54Z</dcterms:modified>
</cp:coreProperties>
</file>